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 bookmarkIdSeed="3">
  <p:sldMasterIdLst>
    <p:sldMasterId id="2147483660" r:id="rId4"/>
  </p:sldMasterIdLst>
  <p:notesMasterIdLst>
    <p:notesMasterId r:id="rId29"/>
  </p:notesMasterIdLst>
  <p:handoutMasterIdLst>
    <p:handoutMasterId r:id="rId30"/>
  </p:handoutMasterIdLst>
  <p:sldIdLst>
    <p:sldId id="256" r:id="rId5"/>
    <p:sldId id="261" r:id="rId6"/>
    <p:sldId id="264" r:id="rId7"/>
    <p:sldId id="263" r:id="rId8"/>
    <p:sldId id="269" r:id="rId9"/>
    <p:sldId id="277" r:id="rId10"/>
    <p:sldId id="276" r:id="rId11"/>
    <p:sldId id="266" r:id="rId12"/>
    <p:sldId id="281" r:id="rId13"/>
    <p:sldId id="282" r:id="rId14"/>
    <p:sldId id="283" r:id="rId15"/>
    <p:sldId id="284" r:id="rId16"/>
    <p:sldId id="278" r:id="rId17"/>
    <p:sldId id="270" r:id="rId18"/>
    <p:sldId id="271" r:id="rId19"/>
    <p:sldId id="273" r:id="rId20"/>
    <p:sldId id="279" r:id="rId21"/>
    <p:sldId id="285" r:id="rId22"/>
    <p:sldId id="275" r:id="rId23"/>
    <p:sldId id="280" r:id="rId24"/>
    <p:sldId id="287" r:id="rId25"/>
    <p:sldId id="267" r:id="rId26"/>
    <p:sldId id="265" r:id="rId27"/>
    <p:sldId id="286" r:id="rId2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8" userDrawn="1">
          <p15:clr>
            <a:srgbClr val="A4A3A4"/>
          </p15:clr>
        </p15:guide>
        <p15:guide id="2" orient="horz" pos="3967" userDrawn="1">
          <p15:clr>
            <a:srgbClr val="A4A3A4"/>
          </p15:clr>
        </p15:guide>
        <p15:guide id="3" orient="horz" pos="292" userDrawn="1">
          <p15:clr>
            <a:srgbClr val="A4A3A4"/>
          </p15:clr>
        </p15:guide>
        <p15:guide id="4" pos="295" userDrawn="1">
          <p15:clr>
            <a:srgbClr val="A4A3A4"/>
          </p15:clr>
        </p15:guide>
        <p15:guide id="5" pos="7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4BA0"/>
    <a:srgbClr val="111B40"/>
    <a:srgbClr val="1A2C80"/>
    <a:srgbClr val="5D7E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03A341-2ACE-687E-4EB2-4B7217BFBC50}" v="45" dt="2025-01-16T23:10:15.345"/>
    <p1510:client id="{F3B5DA18-6126-424A-8BFA-9D1061CEF71C}" v="35" dt="2025-01-16T21:08:30.3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517" autoAdjust="0"/>
  </p:normalViewPr>
  <p:slideViewPr>
    <p:cSldViewPr snapToGrid="0">
      <p:cViewPr>
        <p:scale>
          <a:sx n="69" d="100"/>
          <a:sy n="69" d="100"/>
        </p:scale>
        <p:origin x="540" y="76"/>
      </p:cViewPr>
      <p:guideLst>
        <p:guide orient="horz" pos="988"/>
        <p:guide orient="horz" pos="3967"/>
        <p:guide orient="horz" pos="292"/>
        <p:guide pos="295"/>
        <p:guide pos="73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4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da, Padma Sree" userId="a91c97f1-99a7-4103-b24d-0fb7c024a67d" providerId="ADAL" clId="{F3B5DA18-6126-424A-8BFA-9D1061CEF71C}"/>
    <pc:docChg chg="undo redo custSel addSld delSld modSld sldOrd modMainMaster">
      <pc:chgData name="Manda, Padma Sree" userId="a91c97f1-99a7-4103-b24d-0fb7c024a67d" providerId="ADAL" clId="{F3B5DA18-6126-424A-8BFA-9D1061CEF71C}" dt="2025-01-16T21:09:52.212" v="8879" actId="1076"/>
      <pc:docMkLst>
        <pc:docMk/>
      </pc:docMkLst>
      <pc:sldChg chg="addSp modSp mod">
        <pc:chgData name="Manda, Padma Sree" userId="a91c97f1-99a7-4103-b24d-0fb7c024a67d" providerId="ADAL" clId="{F3B5DA18-6126-424A-8BFA-9D1061CEF71C}" dt="2025-01-16T13:37:36.309" v="6386" actId="20577"/>
        <pc:sldMkLst>
          <pc:docMk/>
          <pc:sldMk cId="3483822718" sldId="256"/>
        </pc:sldMkLst>
        <pc:spChg chg="mod">
          <ac:chgData name="Manda, Padma Sree" userId="a91c97f1-99a7-4103-b24d-0fb7c024a67d" providerId="ADAL" clId="{F3B5DA18-6126-424A-8BFA-9D1061CEF71C}" dt="2025-01-16T13:37:36.309" v="6386" actId="20577"/>
          <ac:spMkLst>
            <pc:docMk/>
            <pc:sldMk cId="3483822718" sldId="256"/>
            <ac:spMk id="2" creationId="{00211448-EFEE-4B2E-BCCF-BB85CC96293A}"/>
          </ac:spMkLst>
        </pc:spChg>
        <pc:spChg chg="add mod">
          <ac:chgData name="Manda, Padma Sree" userId="a91c97f1-99a7-4103-b24d-0fb7c024a67d" providerId="ADAL" clId="{F3B5DA18-6126-424A-8BFA-9D1061CEF71C}" dt="2025-01-06T11:54:21.211" v="6384" actId="1076"/>
          <ac:spMkLst>
            <pc:docMk/>
            <pc:sldMk cId="3483822718" sldId="256"/>
            <ac:spMk id="3" creationId="{9CEDCEB8-58DD-29FC-347B-DA3BB9BB0339}"/>
          </ac:spMkLst>
        </pc:spChg>
      </pc:sldChg>
      <pc:sldChg chg="addSp delSp modSp del mod">
        <pc:chgData name="Manda, Padma Sree" userId="a91c97f1-99a7-4103-b24d-0fb7c024a67d" providerId="ADAL" clId="{F3B5DA18-6126-424A-8BFA-9D1061CEF71C}" dt="2025-01-06T11:26:01.209" v="5443" actId="47"/>
        <pc:sldMkLst>
          <pc:docMk/>
          <pc:sldMk cId="3617213016" sldId="257"/>
        </pc:sldMkLst>
      </pc:sldChg>
      <pc:sldChg chg="addSp delSp modSp del mod ord">
        <pc:chgData name="Manda, Padma Sree" userId="a91c97f1-99a7-4103-b24d-0fb7c024a67d" providerId="ADAL" clId="{F3B5DA18-6126-424A-8BFA-9D1061CEF71C}" dt="2025-01-16T14:03:38.694" v="6488" actId="47"/>
        <pc:sldMkLst>
          <pc:docMk/>
          <pc:sldMk cId="1247061769" sldId="260"/>
        </pc:sldMkLst>
        <pc:spChg chg="add del mod">
          <ac:chgData name="Manda, Padma Sree" userId="a91c97f1-99a7-4103-b24d-0fb7c024a67d" providerId="ADAL" clId="{F3B5DA18-6126-424A-8BFA-9D1061CEF71C}" dt="2025-01-16T14:02:55.635" v="6481" actId="478"/>
          <ac:spMkLst>
            <pc:docMk/>
            <pc:sldMk cId="1247061769" sldId="260"/>
            <ac:spMk id="4" creationId="{6DC7E21C-1947-37EC-A806-F837C0E44CC8}"/>
          </ac:spMkLst>
        </pc:spChg>
        <pc:spChg chg="mod">
          <ac:chgData name="Manda, Padma Sree" userId="a91c97f1-99a7-4103-b24d-0fb7c024a67d" providerId="ADAL" clId="{F3B5DA18-6126-424A-8BFA-9D1061CEF71C}" dt="2025-01-16T14:03:06.036" v="6482" actId="14100"/>
          <ac:spMkLst>
            <pc:docMk/>
            <pc:sldMk cId="1247061769" sldId="260"/>
            <ac:spMk id="9" creationId="{A8123D93-C380-45C6-A8BF-BD78640AE1D6}"/>
          </ac:spMkLst>
        </pc:spChg>
        <pc:picChg chg="add del mod">
          <ac:chgData name="Manda, Padma Sree" userId="a91c97f1-99a7-4103-b24d-0fb7c024a67d" providerId="ADAL" clId="{F3B5DA18-6126-424A-8BFA-9D1061CEF71C}" dt="2025-01-16T13:44:29.621" v="6457" actId="21"/>
          <ac:picMkLst>
            <pc:docMk/>
            <pc:sldMk cId="1247061769" sldId="260"/>
            <ac:picMk id="2" creationId="{BE15C845-583D-486B-C516-28C5A5C627DB}"/>
          </ac:picMkLst>
        </pc:picChg>
      </pc:sldChg>
      <pc:sldChg chg="addSp modSp mod">
        <pc:chgData name="Manda, Padma Sree" userId="a91c97f1-99a7-4103-b24d-0fb7c024a67d" providerId="ADAL" clId="{F3B5DA18-6126-424A-8BFA-9D1061CEF71C}" dt="2025-01-16T13:38:55.664" v="6410" actId="20577"/>
        <pc:sldMkLst>
          <pc:docMk/>
          <pc:sldMk cId="4056287359" sldId="261"/>
        </pc:sldMkLst>
        <pc:spChg chg="mod">
          <ac:chgData name="Manda, Padma Sree" userId="a91c97f1-99a7-4103-b24d-0fb7c024a67d" providerId="ADAL" clId="{F3B5DA18-6126-424A-8BFA-9D1061CEF71C}" dt="2025-01-06T07:06:45.671" v="468" actId="120"/>
          <ac:spMkLst>
            <pc:docMk/>
            <pc:sldMk cId="4056287359" sldId="261"/>
            <ac:spMk id="7" creationId="{FB5864E9-A4E2-448C-895E-07519EC011F8}"/>
          </ac:spMkLst>
        </pc:spChg>
        <pc:spChg chg="mod">
          <ac:chgData name="Manda, Padma Sree" userId="a91c97f1-99a7-4103-b24d-0fb7c024a67d" providerId="ADAL" clId="{F3B5DA18-6126-424A-8BFA-9D1061CEF71C}" dt="2025-01-16T13:38:55.664" v="6410" actId="20577"/>
          <ac:spMkLst>
            <pc:docMk/>
            <pc:sldMk cId="4056287359" sldId="261"/>
            <ac:spMk id="8" creationId="{1351393E-E51E-41E0-ABE2-AAC8E63F2D1A}"/>
          </ac:spMkLst>
        </pc:spChg>
        <pc:picChg chg="add mod">
          <ac:chgData name="Manda, Padma Sree" userId="a91c97f1-99a7-4103-b24d-0fb7c024a67d" providerId="ADAL" clId="{F3B5DA18-6126-424A-8BFA-9D1061CEF71C}" dt="2025-01-06T07:05:02.072" v="447" actId="1076"/>
          <ac:picMkLst>
            <pc:docMk/>
            <pc:sldMk cId="4056287359" sldId="261"/>
            <ac:picMk id="21" creationId="{137F3921-3256-59FF-963C-7744CB08668B}"/>
          </ac:picMkLst>
        </pc:picChg>
        <pc:picChg chg="add mod">
          <ac:chgData name="Manda, Padma Sree" userId="a91c97f1-99a7-4103-b24d-0fb7c024a67d" providerId="ADAL" clId="{F3B5DA18-6126-424A-8BFA-9D1061CEF71C}" dt="2025-01-06T07:04:51.338" v="446" actId="14100"/>
          <ac:picMkLst>
            <pc:docMk/>
            <pc:sldMk cId="4056287359" sldId="261"/>
            <ac:picMk id="23" creationId="{35EFB840-8911-9420-B14A-A7CA4016DCCF}"/>
          </ac:picMkLst>
        </pc:picChg>
      </pc:sldChg>
      <pc:sldChg chg="modSp mod ord">
        <pc:chgData name="Manda, Padma Sree" userId="a91c97f1-99a7-4103-b24d-0fb7c024a67d" providerId="ADAL" clId="{F3B5DA18-6126-424A-8BFA-9D1061CEF71C}" dt="2025-01-16T16:33:57.147" v="8181" actId="20577"/>
        <pc:sldMkLst>
          <pc:docMk/>
          <pc:sldMk cId="2413926387" sldId="263"/>
        </pc:sldMkLst>
        <pc:spChg chg="mod">
          <ac:chgData name="Manda, Padma Sree" userId="a91c97f1-99a7-4103-b24d-0fb7c024a67d" providerId="ADAL" clId="{F3B5DA18-6126-424A-8BFA-9D1061CEF71C}" dt="2025-01-06T07:23:44.107" v="1462" actId="20577"/>
          <ac:spMkLst>
            <pc:docMk/>
            <pc:sldMk cId="2413926387" sldId="263"/>
            <ac:spMk id="3" creationId="{3852B5E9-A4DE-4C75-AA5C-E7D00DFBDED0}"/>
          </ac:spMkLst>
        </pc:spChg>
        <pc:spChg chg="mod">
          <ac:chgData name="Manda, Padma Sree" userId="a91c97f1-99a7-4103-b24d-0fb7c024a67d" providerId="ADAL" clId="{F3B5DA18-6126-424A-8BFA-9D1061CEF71C}" dt="2025-01-16T15:32:47.939" v="6787" actId="20577"/>
          <ac:spMkLst>
            <pc:docMk/>
            <pc:sldMk cId="2413926387" sldId="263"/>
            <ac:spMk id="4" creationId="{2DF6EFCE-A001-43B7-9200-E7BB364A8374}"/>
          </ac:spMkLst>
        </pc:spChg>
        <pc:spChg chg="mod">
          <ac:chgData name="Manda, Padma Sree" userId="a91c97f1-99a7-4103-b24d-0fb7c024a67d" providerId="ADAL" clId="{F3B5DA18-6126-424A-8BFA-9D1061CEF71C}" dt="2025-01-16T16:33:57.147" v="8181" actId="20577"/>
          <ac:spMkLst>
            <pc:docMk/>
            <pc:sldMk cId="2413926387" sldId="263"/>
            <ac:spMk id="5" creationId="{1915A4F2-08B7-4D2F-9C5A-B97D1CA3CC42}"/>
          </ac:spMkLst>
        </pc:spChg>
        <pc:spChg chg="mod">
          <ac:chgData name="Manda, Padma Sree" userId="a91c97f1-99a7-4103-b24d-0fb7c024a67d" providerId="ADAL" clId="{F3B5DA18-6126-424A-8BFA-9D1061CEF71C}" dt="2025-01-06T07:24:37.701" v="1500" actId="403"/>
          <ac:spMkLst>
            <pc:docMk/>
            <pc:sldMk cId="2413926387" sldId="263"/>
            <ac:spMk id="6" creationId="{DFEA86EB-64FF-43CC-8F50-426B83D7C720}"/>
          </ac:spMkLst>
        </pc:spChg>
        <pc:spChg chg="mod">
          <ac:chgData name="Manda, Padma Sree" userId="a91c97f1-99a7-4103-b24d-0fb7c024a67d" providerId="ADAL" clId="{F3B5DA18-6126-424A-8BFA-9D1061CEF71C}" dt="2025-01-06T07:24:43.649" v="1503" actId="403"/>
          <ac:spMkLst>
            <pc:docMk/>
            <pc:sldMk cId="2413926387" sldId="263"/>
            <ac:spMk id="7" creationId="{B426B705-C853-4372-8BC9-15B9B77E14C9}"/>
          </ac:spMkLst>
        </pc:spChg>
      </pc:sldChg>
      <pc:sldChg chg="modSp new mod">
        <pc:chgData name="Manda, Padma Sree" userId="a91c97f1-99a7-4103-b24d-0fb7c024a67d" providerId="ADAL" clId="{F3B5DA18-6126-424A-8BFA-9D1061CEF71C}" dt="2025-01-16T20:41:39.788" v="8460" actId="20577"/>
        <pc:sldMkLst>
          <pc:docMk/>
          <pc:sldMk cId="2841273767" sldId="264"/>
        </pc:sldMkLst>
        <pc:spChg chg="mod">
          <ac:chgData name="Manda, Padma Sree" userId="a91c97f1-99a7-4103-b24d-0fb7c024a67d" providerId="ADAL" clId="{F3B5DA18-6126-424A-8BFA-9D1061CEF71C}" dt="2025-01-06T07:06:40.443" v="467" actId="20577"/>
          <ac:spMkLst>
            <pc:docMk/>
            <pc:sldMk cId="2841273767" sldId="264"/>
            <ac:spMk id="2" creationId="{1473BD71-113C-46F3-61B7-79C0A2F0DF85}"/>
          </ac:spMkLst>
        </pc:spChg>
        <pc:spChg chg="mod">
          <ac:chgData name="Manda, Padma Sree" userId="a91c97f1-99a7-4103-b24d-0fb7c024a67d" providerId="ADAL" clId="{F3B5DA18-6126-424A-8BFA-9D1061CEF71C}" dt="2025-01-16T20:41:39.788" v="8460" actId="20577"/>
          <ac:spMkLst>
            <pc:docMk/>
            <pc:sldMk cId="2841273767" sldId="264"/>
            <ac:spMk id="3" creationId="{8E351160-9766-C579-44C2-90D3EB5F4107}"/>
          </ac:spMkLst>
        </pc:spChg>
      </pc:sldChg>
      <pc:sldChg chg="modSp new mod">
        <pc:chgData name="Manda, Padma Sree" userId="a91c97f1-99a7-4103-b24d-0fb7c024a67d" providerId="ADAL" clId="{F3B5DA18-6126-424A-8BFA-9D1061CEF71C}" dt="2025-01-06T08:40:55.272" v="3799" actId="20577"/>
        <pc:sldMkLst>
          <pc:docMk/>
          <pc:sldMk cId="1670815487" sldId="265"/>
        </pc:sldMkLst>
        <pc:spChg chg="mod">
          <ac:chgData name="Manda, Padma Sree" userId="a91c97f1-99a7-4103-b24d-0fb7c024a67d" providerId="ADAL" clId="{F3B5DA18-6126-424A-8BFA-9D1061CEF71C}" dt="2025-01-06T08:26:08.242" v="3358" actId="20577"/>
          <ac:spMkLst>
            <pc:docMk/>
            <pc:sldMk cId="1670815487" sldId="265"/>
            <ac:spMk id="2" creationId="{F3D7D4AA-703C-0BE8-7201-A44E716898F6}"/>
          </ac:spMkLst>
        </pc:spChg>
        <pc:spChg chg="mod">
          <ac:chgData name="Manda, Padma Sree" userId="a91c97f1-99a7-4103-b24d-0fb7c024a67d" providerId="ADAL" clId="{F3B5DA18-6126-424A-8BFA-9D1061CEF71C}" dt="2025-01-06T08:40:55.272" v="3799" actId="20577"/>
          <ac:spMkLst>
            <pc:docMk/>
            <pc:sldMk cId="1670815487" sldId="265"/>
            <ac:spMk id="3" creationId="{0B2C577A-1BDD-CE85-E33D-E0E13BFB751B}"/>
          </ac:spMkLst>
        </pc:spChg>
      </pc:sldChg>
      <pc:sldChg chg="new del">
        <pc:chgData name="Manda, Padma Sree" userId="a91c97f1-99a7-4103-b24d-0fb7c024a67d" providerId="ADAL" clId="{F3B5DA18-6126-424A-8BFA-9D1061CEF71C}" dt="2025-01-06T07:23:13.252" v="1452" actId="47"/>
        <pc:sldMkLst>
          <pc:docMk/>
          <pc:sldMk cId="3022171440" sldId="265"/>
        </pc:sldMkLst>
      </pc:sldChg>
      <pc:sldChg chg="modSp new mod ord">
        <pc:chgData name="Manda, Padma Sree" userId="a91c97f1-99a7-4103-b24d-0fb7c024a67d" providerId="ADAL" clId="{F3B5DA18-6126-424A-8BFA-9D1061CEF71C}" dt="2025-01-16T14:05:24.015" v="6501" actId="403"/>
        <pc:sldMkLst>
          <pc:docMk/>
          <pc:sldMk cId="4197668171" sldId="266"/>
        </pc:sldMkLst>
        <pc:spChg chg="mod">
          <ac:chgData name="Manda, Padma Sree" userId="a91c97f1-99a7-4103-b24d-0fb7c024a67d" providerId="ADAL" clId="{F3B5DA18-6126-424A-8BFA-9D1061CEF71C}" dt="2025-01-06T10:59:05.049" v="4731" actId="20577"/>
          <ac:spMkLst>
            <pc:docMk/>
            <pc:sldMk cId="4197668171" sldId="266"/>
            <ac:spMk id="2" creationId="{06331681-2E29-E33C-98C7-C6949C51BAE6}"/>
          </ac:spMkLst>
        </pc:spChg>
        <pc:spChg chg="mod">
          <ac:chgData name="Manda, Padma Sree" userId="a91c97f1-99a7-4103-b24d-0fb7c024a67d" providerId="ADAL" clId="{F3B5DA18-6126-424A-8BFA-9D1061CEF71C}" dt="2025-01-16T14:05:24.015" v="6501" actId="403"/>
          <ac:spMkLst>
            <pc:docMk/>
            <pc:sldMk cId="4197668171" sldId="266"/>
            <ac:spMk id="3" creationId="{466C2961-0315-8B70-13E7-FEFD43C7943F}"/>
          </ac:spMkLst>
        </pc:spChg>
      </pc:sldChg>
      <pc:sldChg chg="modSp new mod ord">
        <pc:chgData name="Manda, Padma Sree" userId="a91c97f1-99a7-4103-b24d-0fb7c024a67d" providerId="ADAL" clId="{F3B5DA18-6126-424A-8BFA-9D1061CEF71C}" dt="2025-01-16T13:40:07.405" v="6441"/>
        <pc:sldMkLst>
          <pc:docMk/>
          <pc:sldMk cId="2929853638" sldId="267"/>
        </pc:sldMkLst>
        <pc:spChg chg="mod">
          <ac:chgData name="Manda, Padma Sree" userId="a91c97f1-99a7-4103-b24d-0fb7c024a67d" providerId="ADAL" clId="{F3B5DA18-6126-424A-8BFA-9D1061CEF71C}" dt="2025-01-06T08:16:12.231" v="2243"/>
          <ac:spMkLst>
            <pc:docMk/>
            <pc:sldMk cId="2929853638" sldId="267"/>
            <ac:spMk id="2" creationId="{C72A8B87-FBD1-D689-8170-EEA43EE984D2}"/>
          </ac:spMkLst>
        </pc:spChg>
        <pc:spChg chg="mod">
          <ac:chgData name="Manda, Padma Sree" userId="a91c97f1-99a7-4103-b24d-0fb7c024a67d" providerId="ADAL" clId="{F3B5DA18-6126-424A-8BFA-9D1061CEF71C}" dt="2025-01-06T08:16:28.684" v="2270" actId="20577"/>
          <ac:spMkLst>
            <pc:docMk/>
            <pc:sldMk cId="2929853638" sldId="267"/>
            <ac:spMk id="3" creationId="{FB689D48-7C10-7D54-CC25-4CD71AB20443}"/>
          </ac:spMkLst>
        </pc:spChg>
        <pc:spChg chg="mod">
          <ac:chgData name="Manda, Padma Sree" userId="a91c97f1-99a7-4103-b24d-0fb7c024a67d" providerId="ADAL" clId="{F3B5DA18-6126-424A-8BFA-9D1061CEF71C}" dt="2025-01-06T08:16:42.696" v="2302" actId="20577"/>
          <ac:spMkLst>
            <pc:docMk/>
            <pc:sldMk cId="2929853638" sldId="267"/>
            <ac:spMk id="4" creationId="{265D622D-95C4-A66D-0BAF-E118BA860982}"/>
          </ac:spMkLst>
        </pc:spChg>
        <pc:spChg chg="mod">
          <ac:chgData name="Manda, Padma Sree" userId="a91c97f1-99a7-4103-b24d-0fb7c024a67d" providerId="ADAL" clId="{F3B5DA18-6126-424A-8BFA-9D1061CEF71C}" dt="2025-01-06T08:35:48.593" v="3532" actId="20577"/>
          <ac:spMkLst>
            <pc:docMk/>
            <pc:sldMk cId="2929853638" sldId="267"/>
            <ac:spMk id="5" creationId="{13E9E707-233D-928F-1AEB-3D6991769AA8}"/>
          </ac:spMkLst>
        </pc:spChg>
        <pc:spChg chg="mod">
          <ac:chgData name="Manda, Padma Sree" userId="a91c97f1-99a7-4103-b24d-0fb7c024a67d" providerId="ADAL" clId="{F3B5DA18-6126-424A-8BFA-9D1061CEF71C}" dt="2025-01-06T08:36:34.118" v="3595" actId="20577"/>
          <ac:spMkLst>
            <pc:docMk/>
            <pc:sldMk cId="2929853638" sldId="267"/>
            <ac:spMk id="6" creationId="{3C74633F-6E07-CFB2-5A76-70D44A02972D}"/>
          </ac:spMkLst>
        </pc:spChg>
      </pc:sldChg>
      <pc:sldChg chg="new del ord">
        <pc:chgData name="Manda, Padma Sree" userId="a91c97f1-99a7-4103-b24d-0fb7c024a67d" providerId="ADAL" clId="{F3B5DA18-6126-424A-8BFA-9D1061CEF71C}" dt="2025-01-06T11:34:54.181" v="5725" actId="47"/>
        <pc:sldMkLst>
          <pc:docMk/>
          <pc:sldMk cId="2847990324" sldId="268"/>
        </pc:sldMkLst>
      </pc:sldChg>
      <pc:sldChg chg="addSp delSp modSp new mod ord chgLayout">
        <pc:chgData name="Manda, Padma Sree" userId="a91c97f1-99a7-4103-b24d-0fb7c024a67d" providerId="ADAL" clId="{F3B5DA18-6126-424A-8BFA-9D1061CEF71C}" dt="2025-01-16T13:43:48.692" v="6443"/>
        <pc:sldMkLst>
          <pc:docMk/>
          <pc:sldMk cId="1519610265" sldId="269"/>
        </pc:sldMkLst>
        <pc:spChg chg="mod">
          <ac:chgData name="Manda, Padma Sree" userId="a91c97f1-99a7-4103-b24d-0fb7c024a67d" providerId="ADAL" clId="{F3B5DA18-6126-424A-8BFA-9D1061CEF71C}" dt="2025-01-06T08:27:47.061" v="3447" actId="26606"/>
          <ac:spMkLst>
            <pc:docMk/>
            <pc:sldMk cId="1519610265" sldId="269"/>
            <ac:spMk id="2" creationId="{873580B0-F982-306B-39EF-844D0C59C371}"/>
          </ac:spMkLst>
        </pc:spChg>
        <pc:graphicFrameChg chg="add mod modGraphic">
          <ac:chgData name="Manda, Padma Sree" userId="a91c97f1-99a7-4103-b24d-0fb7c024a67d" providerId="ADAL" clId="{F3B5DA18-6126-424A-8BFA-9D1061CEF71C}" dt="2025-01-06T08:30:07.216" v="3466" actId="1076"/>
          <ac:graphicFrameMkLst>
            <pc:docMk/>
            <pc:sldMk cId="1519610265" sldId="269"/>
            <ac:graphicFrameMk id="4" creationId="{F52FF558-0BA9-25BE-D57D-5E9D63C481CE}"/>
          </ac:graphicFrameMkLst>
        </pc:graphicFrameChg>
      </pc:sldChg>
      <pc:sldChg chg="addSp delSp modSp new mod ord">
        <pc:chgData name="Manda, Padma Sree" userId="a91c97f1-99a7-4103-b24d-0fb7c024a67d" providerId="ADAL" clId="{F3B5DA18-6126-424A-8BFA-9D1061CEF71C}" dt="2025-01-06T11:21:12.287" v="5440" actId="20577"/>
        <pc:sldMkLst>
          <pc:docMk/>
          <pc:sldMk cId="941461665" sldId="270"/>
        </pc:sldMkLst>
        <pc:spChg chg="mod">
          <ac:chgData name="Manda, Padma Sree" userId="a91c97f1-99a7-4103-b24d-0fb7c024a67d" providerId="ADAL" clId="{F3B5DA18-6126-424A-8BFA-9D1061CEF71C}" dt="2025-01-06T11:10:07.975" v="5363" actId="20577"/>
          <ac:spMkLst>
            <pc:docMk/>
            <pc:sldMk cId="941461665" sldId="270"/>
            <ac:spMk id="2" creationId="{3DF035CD-2B6A-145C-E369-951EE3D55F94}"/>
          </ac:spMkLst>
        </pc:spChg>
        <pc:spChg chg="mod">
          <ac:chgData name="Manda, Padma Sree" userId="a91c97f1-99a7-4103-b24d-0fb7c024a67d" providerId="ADAL" clId="{F3B5DA18-6126-424A-8BFA-9D1061CEF71C}" dt="2025-01-06T11:21:12.287" v="5440" actId="20577"/>
          <ac:spMkLst>
            <pc:docMk/>
            <pc:sldMk cId="941461665" sldId="270"/>
            <ac:spMk id="4" creationId="{C35103E4-FEDC-05E9-1350-036E42D081F1}"/>
          </ac:spMkLst>
        </pc:spChg>
        <pc:picChg chg="add mod">
          <ac:chgData name="Manda, Padma Sree" userId="a91c97f1-99a7-4103-b24d-0fb7c024a67d" providerId="ADAL" clId="{F3B5DA18-6126-424A-8BFA-9D1061CEF71C}" dt="2025-01-06T11:09:39.309" v="5318" actId="1076"/>
          <ac:picMkLst>
            <pc:docMk/>
            <pc:sldMk cId="941461665" sldId="270"/>
            <ac:picMk id="7" creationId="{A8676277-E47E-122A-0991-FE00DAE62C1C}"/>
          </ac:picMkLst>
        </pc:picChg>
      </pc:sldChg>
      <pc:sldChg chg="addSp delSp modSp new mod">
        <pc:chgData name="Manda, Padma Sree" userId="a91c97f1-99a7-4103-b24d-0fb7c024a67d" providerId="ADAL" clId="{F3B5DA18-6126-424A-8BFA-9D1061CEF71C}" dt="2025-01-06T11:30:40.614" v="5575" actId="33524"/>
        <pc:sldMkLst>
          <pc:docMk/>
          <pc:sldMk cId="2646639607" sldId="271"/>
        </pc:sldMkLst>
        <pc:spChg chg="mod">
          <ac:chgData name="Manda, Padma Sree" userId="a91c97f1-99a7-4103-b24d-0fb7c024a67d" providerId="ADAL" clId="{F3B5DA18-6126-424A-8BFA-9D1061CEF71C}" dt="2025-01-06T11:11:33.997" v="5387" actId="1076"/>
          <ac:spMkLst>
            <pc:docMk/>
            <pc:sldMk cId="2646639607" sldId="271"/>
            <ac:spMk id="2" creationId="{1C2884AD-37D7-809A-8571-C04CDDA6C3D9}"/>
          </ac:spMkLst>
        </pc:spChg>
        <pc:spChg chg="mod">
          <ac:chgData name="Manda, Padma Sree" userId="a91c97f1-99a7-4103-b24d-0fb7c024a67d" providerId="ADAL" clId="{F3B5DA18-6126-424A-8BFA-9D1061CEF71C}" dt="2025-01-06T11:30:40.614" v="5575" actId="33524"/>
          <ac:spMkLst>
            <pc:docMk/>
            <pc:sldMk cId="2646639607" sldId="271"/>
            <ac:spMk id="4" creationId="{13195ECE-4791-C12C-16EF-809725858A04}"/>
          </ac:spMkLst>
        </pc:spChg>
        <pc:picChg chg="add mod">
          <ac:chgData name="Manda, Padma Sree" userId="a91c97f1-99a7-4103-b24d-0fb7c024a67d" providerId="ADAL" clId="{F3B5DA18-6126-424A-8BFA-9D1061CEF71C}" dt="2025-01-06T11:15:46.231" v="5417" actId="1076"/>
          <ac:picMkLst>
            <pc:docMk/>
            <pc:sldMk cId="2646639607" sldId="271"/>
            <ac:picMk id="7" creationId="{3CCD2022-CAE6-0C7C-A4A4-5072CBED4121}"/>
          </ac:picMkLst>
        </pc:picChg>
      </pc:sldChg>
      <pc:sldChg chg="new del">
        <pc:chgData name="Manda, Padma Sree" userId="a91c97f1-99a7-4103-b24d-0fb7c024a67d" providerId="ADAL" clId="{F3B5DA18-6126-424A-8BFA-9D1061CEF71C}" dt="2025-01-06T11:11:26.068" v="5385" actId="47"/>
        <pc:sldMkLst>
          <pc:docMk/>
          <pc:sldMk cId="2163961202" sldId="272"/>
        </pc:sldMkLst>
      </pc:sldChg>
      <pc:sldChg chg="addSp delSp modSp new mod">
        <pc:chgData name="Manda, Padma Sree" userId="a91c97f1-99a7-4103-b24d-0fb7c024a67d" providerId="ADAL" clId="{F3B5DA18-6126-424A-8BFA-9D1061CEF71C}" dt="2025-01-16T16:33:27.699" v="8178" actId="20577"/>
        <pc:sldMkLst>
          <pc:docMk/>
          <pc:sldMk cId="176388289" sldId="273"/>
        </pc:sldMkLst>
        <pc:spChg chg="mod">
          <ac:chgData name="Manda, Padma Sree" userId="a91c97f1-99a7-4103-b24d-0fb7c024a67d" providerId="ADAL" clId="{F3B5DA18-6126-424A-8BFA-9D1061CEF71C}" dt="2025-01-16T16:33:27.699" v="8178" actId="20577"/>
          <ac:spMkLst>
            <pc:docMk/>
            <pc:sldMk cId="176388289" sldId="273"/>
            <ac:spMk id="2" creationId="{BCDA543D-D2B1-C096-0596-C0E4EB2C3CD5}"/>
          </ac:spMkLst>
        </pc:spChg>
        <pc:spChg chg="mod">
          <ac:chgData name="Manda, Padma Sree" userId="a91c97f1-99a7-4103-b24d-0fb7c024a67d" providerId="ADAL" clId="{F3B5DA18-6126-424A-8BFA-9D1061CEF71C}" dt="2025-01-06T11:34:36.614" v="5724" actId="20577"/>
          <ac:spMkLst>
            <pc:docMk/>
            <pc:sldMk cId="176388289" sldId="273"/>
            <ac:spMk id="4" creationId="{5EC176BC-55F2-BE21-0074-68A046191116}"/>
          </ac:spMkLst>
        </pc:spChg>
        <pc:picChg chg="add mod">
          <ac:chgData name="Manda, Padma Sree" userId="a91c97f1-99a7-4103-b24d-0fb7c024a67d" providerId="ADAL" clId="{F3B5DA18-6126-424A-8BFA-9D1061CEF71C}" dt="2025-01-06T11:15:37.700" v="5416" actId="1076"/>
          <ac:picMkLst>
            <pc:docMk/>
            <pc:sldMk cId="176388289" sldId="273"/>
            <ac:picMk id="7" creationId="{0848E3E7-BB50-0AF8-28AF-6BAF6431D077}"/>
          </ac:picMkLst>
        </pc:picChg>
      </pc:sldChg>
      <pc:sldChg chg="modSp new mod ord">
        <pc:chgData name="Manda, Padma Sree" userId="a91c97f1-99a7-4103-b24d-0fb7c024a67d" providerId="ADAL" clId="{F3B5DA18-6126-424A-8BFA-9D1061CEF71C}" dt="2025-01-16T14:07:41.041" v="6507" actId="15"/>
        <pc:sldMkLst>
          <pc:docMk/>
          <pc:sldMk cId="447740419" sldId="274"/>
        </pc:sldMkLst>
        <pc:spChg chg="mod">
          <ac:chgData name="Manda, Padma Sree" userId="a91c97f1-99a7-4103-b24d-0fb7c024a67d" providerId="ADAL" clId="{F3B5DA18-6126-424A-8BFA-9D1061CEF71C}" dt="2025-01-06T11:35:30.535" v="5740" actId="20577"/>
          <ac:spMkLst>
            <pc:docMk/>
            <pc:sldMk cId="447740419" sldId="274"/>
            <ac:spMk id="2" creationId="{07C34F06-B623-8201-8F5E-7A4CD8F7F1B2}"/>
          </ac:spMkLst>
        </pc:spChg>
        <pc:spChg chg="mod">
          <ac:chgData name="Manda, Padma Sree" userId="a91c97f1-99a7-4103-b24d-0fb7c024a67d" providerId="ADAL" clId="{F3B5DA18-6126-424A-8BFA-9D1061CEF71C}" dt="2025-01-16T14:07:41.041" v="6507" actId="15"/>
          <ac:spMkLst>
            <pc:docMk/>
            <pc:sldMk cId="447740419" sldId="274"/>
            <ac:spMk id="3" creationId="{60DA153D-71E4-A67E-1F7B-1DCCCA2595C8}"/>
          </ac:spMkLst>
        </pc:spChg>
      </pc:sldChg>
      <pc:sldChg chg="modSp new mod">
        <pc:chgData name="Manda, Padma Sree" userId="a91c97f1-99a7-4103-b24d-0fb7c024a67d" providerId="ADAL" clId="{F3B5DA18-6126-424A-8BFA-9D1061CEF71C}" dt="2025-01-06T11:50:44.753" v="6195" actId="20577"/>
        <pc:sldMkLst>
          <pc:docMk/>
          <pc:sldMk cId="3834010864" sldId="275"/>
        </pc:sldMkLst>
        <pc:spChg chg="mod">
          <ac:chgData name="Manda, Padma Sree" userId="a91c97f1-99a7-4103-b24d-0fb7c024a67d" providerId="ADAL" clId="{F3B5DA18-6126-424A-8BFA-9D1061CEF71C}" dt="2025-01-06T11:48:50.125" v="6154" actId="20577"/>
          <ac:spMkLst>
            <pc:docMk/>
            <pc:sldMk cId="3834010864" sldId="275"/>
            <ac:spMk id="2" creationId="{3C4EA11E-FDC9-9E1F-F25A-E53C2AB3508D}"/>
          </ac:spMkLst>
        </pc:spChg>
        <pc:spChg chg="mod">
          <ac:chgData name="Manda, Padma Sree" userId="a91c97f1-99a7-4103-b24d-0fb7c024a67d" providerId="ADAL" clId="{F3B5DA18-6126-424A-8BFA-9D1061CEF71C}" dt="2025-01-06T11:50:44.753" v="6195" actId="20577"/>
          <ac:spMkLst>
            <pc:docMk/>
            <pc:sldMk cId="3834010864" sldId="275"/>
            <ac:spMk id="3" creationId="{E8458A20-F35B-47B7-39C6-4619F0BDA5ED}"/>
          </ac:spMkLst>
        </pc:spChg>
      </pc:sldChg>
      <pc:sldChg chg="addSp delSp modSp new mod chgLayout">
        <pc:chgData name="Manda, Padma Sree" userId="a91c97f1-99a7-4103-b24d-0fb7c024a67d" providerId="ADAL" clId="{F3B5DA18-6126-424A-8BFA-9D1061CEF71C}" dt="2025-01-16T21:09:45.619" v="8877" actId="14100"/>
        <pc:sldMkLst>
          <pc:docMk/>
          <pc:sldMk cId="476944465" sldId="276"/>
        </pc:sldMkLst>
        <pc:spChg chg="mod">
          <ac:chgData name="Manda, Padma Sree" userId="a91c97f1-99a7-4103-b24d-0fb7c024a67d" providerId="ADAL" clId="{F3B5DA18-6126-424A-8BFA-9D1061CEF71C}" dt="2025-01-16T13:44:37.764" v="6460" actId="26606"/>
          <ac:spMkLst>
            <pc:docMk/>
            <pc:sldMk cId="476944465" sldId="276"/>
            <ac:spMk id="2" creationId="{D88F7C03-09F4-6513-C8A0-D2D57DC4B436}"/>
          </ac:spMkLst>
        </pc:spChg>
        <pc:spChg chg="del">
          <ac:chgData name="Manda, Padma Sree" userId="a91c97f1-99a7-4103-b24d-0fb7c024a67d" providerId="ADAL" clId="{F3B5DA18-6126-424A-8BFA-9D1061CEF71C}" dt="2025-01-16T13:44:32.967" v="6458"/>
          <ac:spMkLst>
            <pc:docMk/>
            <pc:sldMk cId="476944465" sldId="276"/>
            <ac:spMk id="3" creationId="{30A62E57-8917-652D-E4E1-F08DB7A24D5A}"/>
          </ac:spMkLst>
        </pc:spChg>
        <pc:spChg chg="del">
          <ac:chgData name="Manda, Padma Sree" userId="a91c97f1-99a7-4103-b24d-0fb7c024a67d" providerId="ADAL" clId="{F3B5DA18-6126-424A-8BFA-9D1061CEF71C}" dt="2025-01-16T13:44:08.683" v="6447" actId="478"/>
          <ac:spMkLst>
            <pc:docMk/>
            <pc:sldMk cId="476944465" sldId="276"/>
            <ac:spMk id="4" creationId="{4D5C669F-27BC-2FAE-DCCB-EACB1910AEB5}"/>
          </ac:spMkLst>
        </pc:spChg>
        <pc:spChg chg="del">
          <ac:chgData name="Manda, Padma Sree" userId="a91c97f1-99a7-4103-b24d-0fb7c024a67d" providerId="ADAL" clId="{F3B5DA18-6126-424A-8BFA-9D1061CEF71C}" dt="2025-01-16T13:44:00.116" v="6445" actId="478"/>
          <ac:spMkLst>
            <pc:docMk/>
            <pc:sldMk cId="476944465" sldId="276"/>
            <ac:spMk id="5" creationId="{D63B4EFF-96DF-EAFD-366A-F8CF64CD3F48}"/>
          </ac:spMkLst>
        </pc:spChg>
        <pc:spChg chg="del">
          <ac:chgData name="Manda, Padma Sree" userId="a91c97f1-99a7-4103-b24d-0fb7c024a67d" providerId="ADAL" clId="{F3B5DA18-6126-424A-8BFA-9D1061CEF71C}" dt="2025-01-16T13:44:05.563" v="6446" actId="478"/>
          <ac:spMkLst>
            <pc:docMk/>
            <pc:sldMk cId="476944465" sldId="276"/>
            <ac:spMk id="6" creationId="{8905CF81-2144-48AC-D2F4-D77270AF2E78}"/>
          </ac:spMkLst>
        </pc:spChg>
        <pc:picChg chg="add mod">
          <ac:chgData name="Manda, Padma Sree" userId="a91c97f1-99a7-4103-b24d-0fb7c024a67d" providerId="ADAL" clId="{F3B5DA18-6126-424A-8BFA-9D1061CEF71C}" dt="2025-01-16T21:09:45.619" v="8877" actId="14100"/>
          <ac:picMkLst>
            <pc:docMk/>
            <pc:sldMk cId="476944465" sldId="276"/>
            <ac:picMk id="7" creationId="{BE15C845-583D-486B-C516-28C5A5C627DB}"/>
          </ac:picMkLst>
        </pc:picChg>
      </pc:sldChg>
      <pc:sldChg chg="modSp new mod ord">
        <pc:chgData name="Manda, Padma Sree" userId="a91c97f1-99a7-4103-b24d-0fb7c024a67d" providerId="ADAL" clId="{F3B5DA18-6126-424A-8BFA-9D1061CEF71C}" dt="2025-01-16T14:03:50.075" v="6491" actId="403"/>
        <pc:sldMkLst>
          <pc:docMk/>
          <pc:sldMk cId="2493514658" sldId="277"/>
        </pc:sldMkLst>
        <pc:spChg chg="mod">
          <ac:chgData name="Manda, Padma Sree" userId="a91c97f1-99a7-4103-b24d-0fb7c024a67d" providerId="ADAL" clId="{F3B5DA18-6126-424A-8BFA-9D1061CEF71C}" dt="2025-01-16T14:03:27.320" v="6486"/>
          <ac:spMkLst>
            <pc:docMk/>
            <pc:sldMk cId="2493514658" sldId="277"/>
            <ac:spMk id="2" creationId="{148304A4-B03D-460B-6222-BB69DE877DF2}"/>
          </ac:spMkLst>
        </pc:spChg>
        <pc:spChg chg="mod">
          <ac:chgData name="Manda, Padma Sree" userId="a91c97f1-99a7-4103-b24d-0fb7c024a67d" providerId="ADAL" clId="{F3B5DA18-6126-424A-8BFA-9D1061CEF71C}" dt="2025-01-16T14:03:50.075" v="6491" actId="403"/>
          <ac:spMkLst>
            <pc:docMk/>
            <pc:sldMk cId="2493514658" sldId="277"/>
            <ac:spMk id="3" creationId="{23B10783-7423-0A1D-BFD0-5F2173192730}"/>
          </ac:spMkLst>
        </pc:spChg>
      </pc:sldChg>
      <pc:sldChg chg="modSp new mod">
        <pc:chgData name="Manda, Padma Sree" userId="a91c97f1-99a7-4103-b24d-0fb7c024a67d" providerId="ADAL" clId="{F3B5DA18-6126-424A-8BFA-9D1061CEF71C}" dt="2025-01-16T14:05:14.357" v="6498" actId="403"/>
        <pc:sldMkLst>
          <pc:docMk/>
          <pc:sldMk cId="1778211318" sldId="278"/>
        </pc:sldMkLst>
        <pc:spChg chg="mod">
          <ac:chgData name="Manda, Padma Sree" userId="a91c97f1-99a7-4103-b24d-0fb7c024a67d" providerId="ADAL" clId="{F3B5DA18-6126-424A-8BFA-9D1061CEF71C}" dt="2025-01-16T14:05:08.493" v="6495"/>
          <ac:spMkLst>
            <pc:docMk/>
            <pc:sldMk cId="1778211318" sldId="278"/>
            <ac:spMk id="2" creationId="{B93F138F-4E5E-0A81-558D-13A005C1E1BD}"/>
          </ac:spMkLst>
        </pc:spChg>
        <pc:spChg chg="mod">
          <ac:chgData name="Manda, Padma Sree" userId="a91c97f1-99a7-4103-b24d-0fb7c024a67d" providerId="ADAL" clId="{F3B5DA18-6126-424A-8BFA-9D1061CEF71C}" dt="2025-01-16T14:05:14.357" v="6498" actId="403"/>
          <ac:spMkLst>
            <pc:docMk/>
            <pc:sldMk cId="1778211318" sldId="278"/>
            <ac:spMk id="3" creationId="{C3E44591-FEF5-BFC9-04D7-A04EE18D1E1D}"/>
          </ac:spMkLst>
        </pc:spChg>
      </pc:sldChg>
      <pc:sldChg chg="modSp new mod ord">
        <pc:chgData name="Manda, Padma Sree" userId="a91c97f1-99a7-4103-b24d-0fb7c024a67d" providerId="ADAL" clId="{F3B5DA18-6126-424A-8BFA-9D1061CEF71C}" dt="2025-01-16T20:51:25.849" v="8754" actId="20577"/>
        <pc:sldMkLst>
          <pc:docMk/>
          <pc:sldMk cId="1989614207" sldId="279"/>
        </pc:sldMkLst>
        <pc:spChg chg="mod">
          <ac:chgData name="Manda, Padma Sree" userId="a91c97f1-99a7-4103-b24d-0fb7c024a67d" providerId="ADAL" clId="{F3B5DA18-6126-424A-8BFA-9D1061CEF71C}" dt="2025-01-16T14:08:05.029" v="6519" actId="20577"/>
          <ac:spMkLst>
            <pc:docMk/>
            <pc:sldMk cId="1989614207" sldId="279"/>
            <ac:spMk id="2" creationId="{09152F61-BA51-7A06-616F-F488A23E1048}"/>
          </ac:spMkLst>
        </pc:spChg>
        <pc:spChg chg="mod">
          <ac:chgData name="Manda, Padma Sree" userId="a91c97f1-99a7-4103-b24d-0fb7c024a67d" providerId="ADAL" clId="{F3B5DA18-6126-424A-8BFA-9D1061CEF71C}" dt="2025-01-16T20:51:25.849" v="8754" actId="20577"/>
          <ac:spMkLst>
            <pc:docMk/>
            <pc:sldMk cId="1989614207" sldId="279"/>
            <ac:spMk id="3" creationId="{8C55C19E-6A95-966D-9D11-C057A2F14B50}"/>
          </ac:spMkLst>
        </pc:spChg>
      </pc:sldChg>
      <pc:sldChg chg="delSp modSp new mod">
        <pc:chgData name="Manda, Padma Sree" userId="a91c97f1-99a7-4103-b24d-0fb7c024a67d" providerId="ADAL" clId="{F3B5DA18-6126-424A-8BFA-9D1061CEF71C}" dt="2025-01-16T20:51:41.214" v="8760" actId="14100"/>
        <pc:sldMkLst>
          <pc:docMk/>
          <pc:sldMk cId="3685607557" sldId="280"/>
        </pc:sldMkLst>
        <pc:spChg chg="mod">
          <ac:chgData name="Manda, Padma Sree" userId="a91c97f1-99a7-4103-b24d-0fb7c024a67d" providerId="ADAL" clId="{F3B5DA18-6126-424A-8BFA-9D1061CEF71C}" dt="2025-01-16T20:51:41.214" v="8760" actId="14100"/>
          <ac:spMkLst>
            <pc:docMk/>
            <pc:sldMk cId="3685607557" sldId="280"/>
            <ac:spMk id="2" creationId="{2BC8882B-56AA-B2CE-DF2E-5F1C538E84FF}"/>
          </ac:spMkLst>
        </pc:spChg>
        <pc:spChg chg="del">
          <ac:chgData name="Manda, Padma Sree" userId="a91c97f1-99a7-4103-b24d-0fb7c024a67d" providerId="ADAL" clId="{F3B5DA18-6126-424A-8BFA-9D1061CEF71C}" dt="2025-01-16T14:08:22.462" v="6523" actId="478"/>
          <ac:spMkLst>
            <pc:docMk/>
            <pc:sldMk cId="3685607557" sldId="280"/>
            <ac:spMk id="3" creationId="{CA7C04F9-DAAA-F6D1-4ADA-6E829530419B}"/>
          </ac:spMkLst>
        </pc:spChg>
      </pc:sldChg>
      <pc:sldChg chg="addSp delSp modSp new mod chgLayout">
        <pc:chgData name="Manda, Padma Sree" userId="a91c97f1-99a7-4103-b24d-0fb7c024a67d" providerId="ADAL" clId="{F3B5DA18-6126-424A-8BFA-9D1061CEF71C}" dt="2025-01-16T21:02:49.253" v="8822" actId="1076"/>
        <pc:sldMkLst>
          <pc:docMk/>
          <pc:sldMk cId="2946674815" sldId="281"/>
        </pc:sldMkLst>
        <pc:spChg chg="mod">
          <ac:chgData name="Manda, Padma Sree" userId="a91c97f1-99a7-4103-b24d-0fb7c024a67d" providerId="ADAL" clId="{F3B5DA18-6126-424A-8BFA-9D1061CEF71C}" dt="2025-01-16T20:58:13.046" v="8765" actId="14100"/>
          <ac:spMkLst>
            <pc:docMk/>
            <pc:sldMk cId="2946674815" sldId="281"/>
            <ac:spMk id="2" creationId="{C48F6660-C36E-0F49-29F1-66F598FB5C02}"/>
          </ac:spMkLst>
        </pc:spChg>
        <pc:spChg chg="del">
          <ac:chgData name="Manda, Padma Sree" userId="a91c97f1-99a7-4103-b24d-0fb7c024a67d" providerId="ADAL" clId="{F3B5DA18-6126-424A-8BFA-9D1061CEF71C}" dt="2025-01-16T20:57:35.515" v="8761"/>
          <ac:spMkLst>
            <pc:docMk/>
            <pc:sldMk cId="2946674815" sldId="281"/>
            <ac:spMk id="3" creationId="{360F522A-9F9C-60A9-9F41-B5E8EF2CF967}"/>
          </ac:spMkLst>
        </pc:spChg>
        <pc:spChg chg="mod ord">
          <ac:chgData name="Manda, Padma Sree" userId="a91c97f1-99a7-4103-b24d-0fb7c024a67d" providerId="ADAL" clId="{F3B5DA18-6126-424A-8BFA-9D1061CEF71C}" dt="2025-01-16T21:00:11.961" v="8804" actId="20577"/>
          <ac:spMkLst>
            <pc:docMk/>
            <pc:sldMk cId="2946674815" sldId="281"/>
            <ac:spMk id="4" creationId="{FF9E9EB7-B9D8-B2A8-16CB-CB1847C51789}"/>
          </ac:spMkLst>
        </pc:spChg>
        <pc:spChg chg="add del mod">
          <ac:chgData name="Manda, Padma Sree" userId="a91c97f1-99a7-4103-b24d-0fb7c024a67d" providerId="ADAL" clId="{F3B5DA18-6126-424A-8BFA-9D1061CEF71C}" dt="2025-01-16T21:02:02.640" v="8815" actId="478"/>
          <ac:spMkLst>
            <pc:docMk/>
            <pc:sldMk cId="2946674815" sldId="281"/>
            <ac:spMk id="8" creationId="{C4A30FFB-32B6-E368-49A7-FB248A02F127}"/>
          </ac:spMkLst>
        </pc:spChg>
        <pc:spChg chg="add del mod">
          <ac:chgData name="Manda, Padma Sree" userId="a91c97f1-99a7-4103-b24d-0fb7c024a67d" providerId="ADAL" clId="{F3B5DA18-6126-424A-8BFA-9D1061CEF71C}" dt="2025-01-16T20:58:01.083" v="8763" actId="478"/>
          <ac:spMkLst>
            <pc:docMk/>
            <pc:sldMk cId="2946674815" sldId="281"/>
            <ac:spMk id="10" creationId="{859033BE-7CE2-5856-2741-4B954F57C475}"/>
          </ac:spMkLst>
        </pc:spChg>
        <pc:spChg chg="add del mod">
          <ac:chgData name="Manda, Padma Sree" userId="a91c97f1-99a7-4103-b24d-0fb7c024a67d" providerId="ADAL" clId="{F3B5DA18-6126-424A-8BFA-9D1061CEF71C}" dt="2025-01-16T20:58:04.460" v="8764" actId="478"/>
          <ac:spMkLst>
            <pc:docMk/>
            <pc:sldMk cId="2946674815" sldId="281"/>
            <ac:spMk id="12" creationId="{36A556AD-C033-6CFF-3A8A-28921E442DF7}"/>
          </ac:spMkLst>
        </pc:spChg>
        <pc:spChg chg="add del mod">
          <ac:chgData name="Manda, Padma Sree" userId="a91c97f1-99a7-4103-b24d-0fb7c024a67d" providerId="ADAL" clId="{F3B5DA18-6126-424A-8BFA-9D1061CEF71C}" dt="2025-01-16T21:01:38.300" v="8808" actId="478"/>
          <ac:spMkLst>
            <pc:docMk/>
            <pc:sldMk cId="2946674815" sldId="281"/>
            <ac:spMk id="14" creationId="{74F6C420-8724-6CC3-77A4-B86975CCC38A}"/>
          </ac:spMkLst>
        </pc:spChg>
        <pc:picChg chg="add mod modCrop">
          <ac:chgData name="Manda, Padma Sree" userId="a91c97f1-99a7-4103-b24d-0fb7c024a67d" providerId="ADAL" clId="{F3B5DA18-6126-424A-8BFA-9D1061CEF71C}" dt="2025-01-16T21:02:16.803" v="8818" actId="14100"/>
          <ac:picMkLst>
            <pc:docMk/>
            <pc:sldMk cId="2946674815" sldId="281"/>
            <ac:picMk id="5" creationId="{1F621DCF-7D0A-3D94-5D2A-E1CE978B7FF8}"/>
          </ac:picMkLst>
        </pc:picChg>
        <pc:picChg chg="add mod">
          <ac:chgData name="Manda, Padma Sree" userId="a91c97f1-99a7-4103-b24d-0fb7c024a67d" providerId="ADAL" clId="{F3B5DA18-6126-424A-8BFA-9D1061CEF71C}" dt="2025-01-16T21:02:49.253" v="8822" actId="1076"/>
          <ac:picMkLst>
            <pc:docMk/>
            <pc:sldMk cId="2946674815" sldId="281"/>
            <ac:picMk id="6" creationId="{3A9441A3-10EF-CF00-F008-11C323B90CCA}"/>
          </ac:picMkLst>
        </pc:picChg>
      </pc:sldChg>
      <pc:sldChg chg="addSp delSp modSp new mod">
        <pc:chgData name="Manda, Padma Sree" userId="a91c97f1-99a7-4103-b24d-0fb7c024a67d" providerId="ADAL" clId="{F3B5DA18-6126-424A-8BFA-9D1061CEF71C}" dt="2025-01-16T21:04:55.295" v="8840" actId="1076"/>
        <pc:sldMkLst>
          <pc:docMk/>
          <pc:sldMk cId="3113858068" sldId="282"/>
        </pc:sldMkLst>
        <pc:spChg chg="del">
          <ac:chgData name="Manda, Padma Sree" userId="a91c97f1-99a7-4103-b24d-0fb7c024a67d" providerId="ADAL" clId="{F3B5DA18-6126-424A-8BFA-9D1061CEF71C}" dt="2025-01-16T21:03:19.965" v="8827" actId="478"/>
          <ac:spMkLst>
            <pc:docMk/>
            <pc:sldMk cId="3113858068" sldId="282"/>
            <ac:spMk id="2" creationId="{06ADD964-4759-4132-C278-3D1C08A33677}"/>
          </ac:spMkLst>
        </pc:spChg>
        <pc:spChg chg="del mod">
          <ac:chgData name="Manda, Padma Sree" userId="a91c97f1-99a7-4103-b24d-0fb7c024a67d" providerId="ADAL" clId="{F3B5DA18-6126-424A-8BFA-9D1061CEF71C}" dt="2025-01-16T21:03:50.767" v="8832"/>
          <ac:spMkLst>
            <pc:docMk/>
            <pc:sldMk cId="3113858068" sldId="282"/>
            <ac:spMk id="3" creationId="{B73EBDD9-A986-BF28-24C6-A8491E4B7F41}"/>
          </ac:spMkLst>
        </pc:spChg>
        <pc:spChg chg="del">
          <ac:chgData name="Manda, Padma Sree" userId="a91c97f1-99a7-4103-b24d-0fb7c024a67d" providerId="ADAL" clId="{F3B5DA18-6126-424A-8BFA-9D1061CEF71C}" dt="2025-01-16T21:03:11.836" v="8825" actId="478"/>
          <ac:spMkLst>
            <pc:docMk/>
            <pc:sldMk cId="3113858068" sldId="282"/>
            <ac:spMk id="4" creationId="{D5229348-FE9D-894D-83C0-D417632A62FB}"/>
          </ac:spMkLst>
        </pc:spChg>
        <pc:spChg chg="del">
          <ac:chgData name="Manda, Padma Sree" userId="a91c97f1-99a7-4103-b24d-0fb7c024a67d" providerId="ADAL" clId="{F3B5DA18-6126-424A-8BFA-9D1061CEF71C}" dt="2025-01-16T21:03:07.822" v="8824" actId="478"/>
          <ac:spMkLst>
            <pc:docMk/>
            <pc:sldMk cId="3113858068" sldId="282"/>
            <ac:spMk id="5" creationId="{EC578600-0866-6240-D7DC-35D06E43D37A}"/>
          </ac:spMkLst>
        </pc:spChg>
        <pc:spChg chg="del">
          <ac:chgData name="Manda, Padma Sree" userId="a91c97f1-99a7-4103-b24d-0fb7c024a67d" providerId="ADAL" clId="{F3B5DA18-6126-424A-8BFA-9D1061CEF71C}" dt="2025-01-16T21:03:16.688" v="8826" actId="478"/>
          <ac:spMkLst>
            <pc:docMk/>
            <pc:sldMk cId="3113858068" sldId="282"/>
            <ac:spMk id="6" creationId="{E1CB77CA-CDA6-A915-C891-BB03FC10D40A}"/>
          </ac:spMkLst>
        </pc:spChg>
        <pc:picChg chg="add mod">
          <ac:chgData name="Manda, Padma Sree" userId="a91c97f1-99a7-4103-b24d-0fb7c024a67d" providerId="ADAL" clId="{F3B5DA18-6126-424A-8BFA-9D1061CEF71C}" dt="2025-01-16T21:04:55.295" v="8840" actId="1076"/>
          <ac:picMkLst>
            <pc:docMk/>
            <pc:sldMk cId="3113858068" sldId="282"/>
            <ac:picMk id="8" creationId="{2DDB8D7B-52D0-FFC7-AAE0-4BF939F0BB97}"/>
          </ac:picMkLst>
        </pc:picChg>
        <pc:picChg chg="add mod">
          <ac:chgData name="Manda, Padma Sree" userId="a91c97f1-99a7-4103-b24d-0fb7c024a67d" providerId="ADAL" clId="{F3B5DA18-6126-424A-8BFA-9D1061CEF71C}" dt="2025-01-16T21:04:41.040" v="8839" actId="14100"/>
          <ac:picMkLst>
            <pc:docMk/>
            <pc:sldMk cId="3113858068" sldId="282"/>
            <ac:picMk id="9" creationId="{3F44954C-ACAA-34E9-612E-4C79C10C7F01}"/>
          </ac:picMkLst>
        </pc:picChg>
      </pc:sldChg>
      <pc:sldChg chg="addSp delSp modSp new mod">
        <pc:chgData name="Manda, Padma Sree" userId="a91c97f1-99a7-4103-b24d-0fb7c024a67d" providerId="ADAL" clId="{F3B5DA18-6126-424A-8BFA-9D1061CEF71C}" dt="2025-01-16T21:06:50.658" v="8860" actId="14100"/>
        <pc:sldMkLst>
          <pc:docMk/>
          <pc:sldMk cId="2381586956" sldId="283"/>
        </pc:sldMkLst>
        <pc:spChg chg="del">
          <ac:chgData name="Manda, Padma Sree" userId="a91c97f1-99a7-4103-b24d-0fb7c024a67d" providerId="ADAL" clId="{F3B5DA18-6126-424A-8BFA-9D1061CEF71C}" dt="2025-01-16T21:05:15.175" v="8843" actId="478"/>
          <ac:spMkLst>
            <pc:docMk/>
            <pc:sldMk cId="2381586956" sldId="283"/>
            <ac:spMk id="2" creationId="{03986A84-D4D3-E2D6-A433-C278CAE00F15}"/>
          </ac:spMkLst>
        </pc:spChg>
        <pc:spChg chg="del mod">
          <ac:chgData name="Manda, Padma Sree" userId="a91c97f1-99a7-4103-b24d-0fb7c024a67d" providerId="ADAL" clId="{F3B5DA18-6126-424A-8BFA-9D1061CEF71C}" dt="2025-01-16T21:05:59.663" v="8850"/>
          <ac:spMkLst>
            <pc:docMk/>
            <pc:sldMk cId="2381586956" sldId="283"/>
            <ac:spMk id="3" creationId="{5A7AD5BE-88B7-2670-6D8B-ADD57CD1C170}"/>
          </ac:spMkLst>
        </pc:spChg>
        <pc:spChg chg="del">
          <ac:chgData name="Manda, Padma Sree" userId="a91c97f1-99a7-4103-b24d-0fb7c024a67d" providerId="ADAL" clId="{F3B5DA18-6126-424A-8BFA-9D1061CEF71C}" dt="2025-01-16T21:05:27.289" v="8846" actId="478"/>
          <ac:spMkLst>
            <pc:docMk/>
            <pc:sldMk cId="2381586956" sldId="283"/>
            <ac:spMk id="4" creationId="{90359131-D9E0-ABCB-8081-4DA95075D429}"/>
          </ac:spMkLst>
        </pc:spChg>
        <pc:spChg chg="del">
          <ac:chgData name="Manda, Padma Sree" userId="a91c97f1-99a7-4103-b24d-0fb7c024a67d" providerId="ADAL" clId="{F3B5DA18-6126-424A-8BFA-9D1061CEF71C}" dt="2025-01-16T21:05:23.151" v="8845" actId="478"/>
          <ac:spMkLst>
            <pc:docMk/>
            <pc:sldMk cId="2381586956" sldId="283"/>
            <ac:spMk id="5" creationId="{F9D96774-8DA0-1E16-9620-A1470F525630}"/>
          </ac:spMkLst>
        </pc:spChg>
        <pc:spChg chg="del">
          <ac:chgData name="Manda, Padma Sree" userId="a91c97f1-99a7-4103-b24d-0fb7c024a67d" providerId="ADAL" clId="{F3B5DA18-6126-424A-8BFA-9D1061CEF71C}" dt="2025-01-16T21:05:20.230" v="8844" actId="478"/>
          <ac:spMkLst>
            <pc:docMk/>
            <pc:sldMk cId="2381586956" sldId="283"/>
            <ac:spMk id="6" creationId="{3363F71E-E19D-B849-06FC-CF89C6DCCEC0}"/>
          </ac:spMkLst>
        </pc:spChg>
        <pc:picChg chg="add mod">
          <ac:chgData name="Manda, Padma Sree" userId="a91c97f1-99a7-4103-b24d-0fb7c024a67d" providerId="ADAL" clId="{F3B5DA18-6126-424A-8BFA-9D1061CEF71C}" dt="2025-01-16T21:06:23.050" v="8855" actId="14100"/>
          <ac:picMkLst>
            <pc:docMk/>
            <pc:sldMk cId="2381586956" sldId="283"/>
            <ac:picMk id="8" creationId="{A4D78343-38CC-F079-B05C-09ABF2D2E23F}"/>
          </ac:picMkLst>
        </pc:picChg>
        <pc:picChg chg="add mod">
          <ac:chgData name="Manda, Padma Sree" userId="a91c97f1-99a7-4103-b24d-0fb7c024a67d" providerId="ADAL" clId="{F3B5DA18-6126-424A-8BFA-9D1061CEF71C}" dt="2025-01-16T21:06:50.658" v="8860" actId="14100"/>
          <ac:picMkLst>
            <pc:docMk/>
            <pc:sldMk cId="2381586956" sldId="283"/>
            <ac:picMk id="9" creationId="{5F407A2E-7784-7B18-C1B3-15B774913B35}"/>
          </ac:picMkLst>
        </pc:picChg>
      </pc:sldChg>
      <pc:sldChg chg="addSp delSp modSp new mod">
        <pc:chgData name="Manda, Padma Sree" userId="a91c97f1-99a7-4103-b24d-0fb7c024a67d" providerId="ADAL" clId="{F3B5DA18-6126-424A-8BFA-9D1061CEF71C}" dt="2025-01-16T21:09:52.212" v="8879" actId="1076"/>
        <pc:sldMkLst>
          <pc:docMk/>
          <pc:sldMk cId="1747973593" sldId="284"/>
        </pc:sldMkLst>
        <pc:spChg chg="del">
          <ac:chgData name="Manda, Padma Sree" userId="a91c97f1-99a7-4103-b24d-0fb7c024a67d" providerId="ADAL" clId="{F3B5DA18-6126-424A-8BFA-9D1061CEF71C}" dt="2025-01-16T21:07:45.114" v="8864" actId="478"/>
          <ac:spMkLst>
            <pc:docMk/>
            <pc:sldMk cId="1747973593" sldId="284"/>
            <ac:spMk id="2" creationId="{EB93D006-4B7E-3420-BA2D-E27B3E2E3999}"/>
          </ac:spMkLst>
        </pc:spChg>
        <pc:spChg chg="del mod">
          <ac:chgData name="Manda, Padma Sree" userId="a91c97f1-99a7-4103-b24d-0fb7c024a67d" providerId="ADAL" clId="{F3B5DA18-6126-424A-8BFA-9D1061CEF71C}" dt="2025-01-16T21:08:07.484" v="8868"/>
          <ac:spMkLst>
            <pc:docMk/>
            <pc:sldMk cId="1747973593" sldId="284"/>
            <ac:spMk id="3" creationId="{37129205-62D9-FD38-C195-AAD918737EE7}"/>
          </ac:spMkLst>
        </pc:spChg>
        <pc:spChg chg="del">
          <ac:chgData name="Manda, Padma Sree" userId="a91c97f1-99a7-4103-b24d-0fb7c024a67d" providerId="ADAL" clId="{F3B5DA18-6126-424A-8BFA-9D1061CEF71C}" dt="2025-01-16T21:07:40.193" v="8863" actId="478"/>
          <ac:spMkLst>
            <pc:docMk/>
            <pc:sldMk cId="1747973593" sldId="284"/>
            <ac:spMk id="4" creationId="{23C378E7-4187-0F27-4C31-363CECC70071}"/>
          </ac:spMkLst>
        </pc:spChg>
        <pc:spChg chg="del">
          <ac:chgData name="Manda, Padma Sree" userId="a91c97f1-99a7-4103-b24d-0fb7c024a67d" providerId="ADAL" clId="{F3B5DA18-6126-424A-8BFA-9D1061CEF71C}" dt="2025-01-16T21:07:36.371" v="8862" actId="478"/>
          <ac:spMkLst>
            <pc:docMk/>
            <pc:sldMk cId="1747973593" sldId="284"/>
            <ac:spMk id="5" creationId="{9D061781-102B-5B31-1B06-4553741DB4FB}"/>
          </ac:spMkLst>
        </pc:spChg>
        <pc:spChg chg="del">
          <ac:chgData name="Manda, Padma Sree" userId="a91c97f1-99a7-4103-b24d-0fb7c024a67d" providerId="ADAL" clId="{F3B5DA18-6126-424A-8BFA-9D1061CEF71C}" dt="2025-01-16T21:07:32.036" v="8861" actId="478"/>
          <ac:spMkLst>
            <pc:docMk/>
            <pc:sldMk cId="1747973593" sldId="284"/>
            <ac:spMk id="6" creationId="{01867DD6-1598-0939-F532-A59FEE361703}"/>
          </ac:spMkLst>
        </pc:spChg>
        <pc:picChg chg="add mod">
          <ac:chgData name="Manda, Padma Sree" userId="a91c97f1-99a7-4103-b24d-0fb7c024a67d" providerId="ADAL" clId="{F3B5DA18-6126-424A-8BFA-9D1061CEF71C}" dt="2025-01-16T21:08:20.334" v="8870" actId="14100"/>
          <ac:picMkLst>
            <pc:docMk/>
            <pc:sldMk cId="1747973593" sldId="284"/>
            <ac:picMk id="8" creationId="{22C4AFB9-967A-1A40-1A92-EBF88A60648E}"/>
          </ac:picMkLst>
        </pc:picChg>
        <pc:picChg chg="add mod">
          <ac:chgData name="Manda, Padma Sree" userId="a91c97f1-99a7-4103-b24d-0fb7c024a67d" providerId="ADAL" clId="{F3B5DA18-6126-424A-8BFA-9D1061CEF71C}" dt="2025-01-16T21:09:52.212" v="8879" actId="1076"/>
          <ac:picMkLst>
            <pc:docMk/>
            <pc:sldMk cId="1747973593" sldId="284"/>
            <ac:picMk id="9" creationId="{EA5257BE-6EEA-0EA1-BA93-0B7F5B007252}"/>
          </ac:picMkLst>
        </pc:picChg>
      </pc:sldChg>
      <pc:sldMasterChg chg="delSp modSp mod modSldLayout">
        <pc:chgData name="Manda, Padma Sree" userId="a91c97f1-99a7-4103-b24d-0fb7c024a67d" providerId="ADAL" clId="{F3B5DA18-6126-424A-8BFA-9D1061CEF71C}" dt="2025-01-16T13:59:15.389" v="6480" actId="207"/>
        <pc:sldMasterMkLst>
          <pc:docMk/>
          <pc:sldMasterMk cId="2901607402" sldId="2147483660"/>
        </pc:sldMasterMkLst>
        <pc:spChg chg="mod">
          <ac:chgData name="Manda, Padma Sree" userId="a91c97f1-99a7-4103-b24d-0fb7c024a67d" providerId="ADAL" clId="{F3B5DA18-6126-424A-8BFA-9D1061CEF71C}" dt="2025-01-16T13:53:44.038" v="6466" actId="14100"/>
          <ac:spMkLst>
            <pc:docMk/>
            <pc:sldMasterMk cId="2901607402" sldId="2147483660"/>
            <ac:spMk id="4" creationId="{6084A7A6-76A0-CB0A-9301-A3EE60BD856F}"/>
          </ac:spMkLst>
        </pc:spChg>
        <pc:spChg chg="del">
          <ac:chgData name="Manda, Padma Sree" userId="a91c97f1-99a7-4103-b24d-0fb7c024a67d" providerId="ADAL" clId="{F3B5DA18-6126-424A-8BFA-9D1061CEF71C}" dt="2025-01-16T13:54:17.224" v="6467" actId="478"/>
          <ac:spMkLst>
            <pc:docMk/>
            <pc:sldMasterMk cId="2901607402" sldId="2147483660"/>
            <ac:spMk id="5" creationId="{5B345D60-554B-A134-2B94-DE484FA58DC4}"/>
          </ac:spMkLst>
        </pc:spChg>
        <pc:sldLayoutChg chg="addSp delSp modSp mod">
          <pc:chgData name="Manda, Padma Sree" userId="a91c97f1-99a7-4103-b24d-0fb7c024a67d" providerId="ADAL" clId="{F3B5DA18-6126-424A-8BFA-9D1061CEF71C}" dt="2025-01-16T13:57:37.095" v="6471" actId="207"/>
          <pc:sldLayoutMkLst>
            <pc:docMk/>
            <pc:sldMasterMk cId="2901607402" sldId="2147483660"/>
            <pc:sldLayoutMk cId="1630169727" sldId="2147483661"/>
          </pc:sldLayoutMkLst>
          <pc:spChg chg="add mod">
            <ac:chgData name="Manda, Padma Sree" userId="a91c97f1-99a7-4103-b24d-0fb7c024a67d" providerId="ADAL" clId="{F3B5DA18-6126-424A-8BFA-9D1061CEF71C}" dt="2025-01-16T13:57:37.095" v="6471" actId="207"/>
            <ac:spMkLst>
              <pc:docMk/>
              <pc:sldMasterMk cId="2901607402" sldId="2147483660"/>
              <pc:sldLayoutMk cId="1630169727" sldId="2147483661"/>
              <ac:spMk id="3" creationId="{C2CDBB97-2565-4AFC-A131-9839A026E72F}"/>
            </ac:spMkLst>
          </pc:spChg>
          <pc:spChg chg="del">
            <ac:chgData name="Manda, Padma Sree" userId="a91c97f1-99a7-4103-b24d-0fb7c024a67d" providerId="ADAL" clId="{F3B5DA18-6126-424A-8BFA-9D1061CEF71C}" dt="2025-01-16T13:57:10.241" v="6469" actId="478"/>
            <ac:spMkLst>
              <pc:docMk/>
              <pc:sldMasterMk cId="2901607402" sldId="2147483660"/>
              <pc:sldLayoutMk cId="1630169727" sldId="2147483661"/>
              <ac:spMk id="9" creationId="{00000000-0000-0000-0000-000000000000}"/>
            </ac:spMkLst>
          </pc:spChg>
        </pc:sldLayoutChg>
        <pc:sldLayoutChg chg="addSp delSp modSp mod">
          <pc:chgData name="Manda, Padma Sree" userId="a91c97f1-99a7-4103-b24d-0fb7c024a67d" providerId="ADAL" clId="{F3B5DA18-6126-424A-8BFA-9D1061CEF71C}" dt="2025-01-16T13:58:37.517" v="6474" actId="207"/>
          <pc:sldLayoutMkLst>
            <pc:docMk/>
            <pc:sldMasterMk cId="2901607402" sldId="2147483660"/>
            <pc:sldLayoutMk cId="2287287527" sldId="2147483666"/>
          </pc:sldLayoutMkLst>
          <pc:spChg chg="add mod">
            <ac:chgData name="Manda, Padma Sree" userId="a91c97f1-99a7-4103-b24d-0fb7c024a67d" providerId="ADAL" clId="{F3B5DA18-6126-424A-8BFA-9D1061CEF71C}" dt="2025-01-16T13:58:37.517" v="6474" actId="207"/>
            <ac:spMkLst>
              <pc:docMk/>
              <pc:sldMasterMk cId="2901607402" sldId="2147483660"/>
              <pc:sldLayoutMk cId="2287287527" sldId="2147483666"/>
              <ac:spMk id="3" creationId="{D7DC69DB-EECA-FF8D-763F-6039E3AEC768}"/>
            </ac:spMkLst>
          </pc:spChg>
          <pc:spChg chg="del">
            <ac:chgData name="Manda, Padma Sree" userId="a91c97f1-99a7-4103-b24d-0fb7c024a67d" providerId="ADAL" clId="{F3B5DA18-6126-424A-8BFA-9D1061CEF71C}" dt="2025-01-16T13:58:33.822" v="6473" actId="478"/>
            <ac:spMkLst>
              <pc:docMk/>
              <pc:sldMasterMk cId="2901607402" sldId="2147483660"/>
              <pc:sldLayoutMk cId="2287287527" sldId="2147483666"/>
              <ac:spMk id="8" creationId="{00000000-0000-0000-0000-000000000000}"/>
            </ac:spMkLst>
          </pc:spChg>
        </pc:sldLayoutChg>
        <pc:sldLayoutChg chg="addSp delSp modSp mod">
          <pc:chgData name="Manda, Padma Sree" userId="a91c97f1-99a7-4103-b24d-0fb7c024a67d" providerId="ADAL" clId="{F3B5DA18-6126-424A-8BFA-9D1061CEF71C}" dt="2025-01-16T13:58:58.890" v="6477" actId="207"/>
          <pc:sldLayoutMkLst>
            <pc:docMk/>
            <pc:sldMasterMk cId="2901607402" sldId="2147483660"/>
            <pc:sldLayoutMk cId="1575195521" sldId="2147483669"/>
          </pc:sldLayoutMkLst>
          <pc:spChg chg="del">
            <ac:chgData name="Manda, Padma Sree" userId="a91c97f1-99a7-4103-b24d-0fb7c024a67d" providerId="ADAL" clId="{F3B5DA18-6126-424A-8BFA-9D1061CEF71C}" dt="2025-01-16T13:58:52.801" v="6475" actId="478"/>
            <ac:spMkLst>
              <pc:docMk/>
              <pc:sldMasterMk cId="2901607402" sldId="2147483660"/>
              <pc:sldLayoutMk cId="1575195521" sldId="2147483669"/>
              <ac:spMk id="3" creationId="{00000000-0000-0000-0000-000000000000}"/>
            </ac:spMkLst>
          </pc:spChg>
          <pc:spChg chg="add mod">
            <ac:chgData name="Manda, Padma Sree" userId="a91c97f1-99a7-4103-b24d-0fb7c024a67d" providerId="ADAL" clId="{F3B5DA18-6126-424A-8BFA-9D1061CEF71C}" dt="2025-01-16T13:58:58.890" v="6477" actId="207"/>
            <ac:spMkLst>
              <pc:docMk/>
              <pc:sldMasterMk cId="2901607402" sldId="2147483660"/>
              <pc:sldLayoutMk cId="1575195521" sldId="2147483669"/>
              <ac:spMk id="4" creationId="{34B9C75E-0E12-F8BD-BD17-9116F72913C7}"/>
            </ac:spMkLst>
          </pc:spChg>
        </pc:sldLayoutChg>
        <pc:sldLayoutChg chg="addSp delSp modSp mod">
          <pc:chgData name="Manda, Padma Sree" userId="a91c97f1-99a7-4103-b24d-0fb7c024a67d" providerId="ADAL" clId="{F3B5DA18-6126-424A-8BFA-9D1061CEF71C}" dt="2025-01-16T13:59:15.389" v="6480" actId="207"/>
          <pc:sldLayoutMkLst>
            <pc:docMk/>
            <pc:sldMasterMk cId="2901607402" sldId="2147483660"/>
            <pc:sldLayoutMk cId="3838743595" sldId="2147483670"/>
          </pc:sldLayoutMkLst>
          <pc:spChg chg="del">
            <ac:chgData name="Manda, Padma Sree" userId="a91c97f1-99a7-4103-b24d-0fb7c024a67d" providerId="ADAL" clId="{F3B5DA18-6126-424A-8BFA-9D1061CEF71C}" dt="2025-01-16T13:59:09.468" v="6478" actId="478"/>
            <ac:spMkLst>
              <pc:docMk/>
              <pc:sldMasterMk cId="2901607402" sldId="2147483660"/>
              <pc:sldLayoutMk cId="3838743595" sldId="2147483670"/>
              <ac:spMk id="3" creationId="{00000000-0000-0000-0000-000000000000}"/>
            </ac:spMkLst>
          </pc:spChg>
          <pc:spChg chg="add mod">
            <ac:chgData name="Manda, Padma Sree" userId="a91c97f1-99a7-4103-b24d-0fb7c024a67d" providerId="ADAL" clId="{F3B5DA18-6126-424A-8BFA-9D1061CEF71C}" dt="2025-01-16T13:59:15.389" v="6480" actId="207"/>
            <ac:spMkLst>
              <pc:docMk/>
              <pc:sldMasterMk cId="2901607402" sldId="2147483660"/>
              <pc:sldLayoutMk cId="3838743595" sldId="2147483670"/>
              <ac:spMk id="4" creationId="{52230132-1657-22BB-0438-C70803F330D7}"/>
            </ac:spMkLst>
          </pc:spChg>
        </pc:sldLayoutChg>
      </pc:sldMasterChg>
    </pc:docChg>
  </pc:docChgLst>
  <pc:docChgLst>
    <pc:chgData name="Harley Moulder" userId="0a88a361-035f-4715-887f-acd0b1f7fe0a" providerId="ADAL" clId="{461F4874-F567-4E17-862E-2157E3F7EBC9}"/>
    <pc:docChg chg="custSel addSld delSld modSld sldOrd">
      <pc:chgData name="Harley Moulder" userId="0a88a361-035f-4715-887f-acd0b1f7fe0a" providerId="ADAL" clId="{461F4874-F567-4E17-862E-2157E3F7EBC9}" dt="2024-12-23T16:35:20.064" v="118" actId="2696"/>
      <pc:docMkLst>
        <pc:docMk/>
      </pc:docMkLst>
      <pc:sldChg chg="new add">
        <pc:chgData name="Harley Moulder" userId="0a88a361-035f-4715-887f-acd0b1f7fe0a" providerId="ADAL" clId="{461F4874-F567-4E17-862E-2157E3F7EBC9}" dt="2024-12-23T16:33:52.211" v="11"/>
        <pc:sldMkLst>
          <pc:docMk/>
          <pc:sldMk cId="3483822718" sldId="256"/>
        </pc:sldMkLst>
      </pc:sldChg>
      <pc:sldChg chg="new add ord">
        <pc:chgData name="Harley Moulder" userId="0a88a361-035f-4715-887f-acd0b1f7fe0a" providerId="ADAL" clId="{461F4874-F567-4E17-862E-2157E3F7EBC9}" dt="2024-12-23T16:34:54.560" v="95"/>
        <pc:sldMkLst>
          <pc:docMk/>
          <pc:sldMk cId="3617213016" sldId="257"/>
        </pc:sldMkLst>
      </pc:sldChg>
      <pc:sldChg chg="addSp delSp modSp new add del mod modClrScheme chgLayout">
        <pc:chgData name="Harley Moulder" userId="0a88a361-035f-4715-887f-acd0b1f7fe0a" providerId="ADAL" clId="{461F4874-F567-4E17-862E-2157E3F7EBC9}" dt="2024-12-23T16:34:59.599" v="96" actId="2696"/>
        <pc:sldMkLst>
          <pc:docMk/>
          <pc:sldMk cId="269802726" sldId="258"/>
        </pc:sldMkLst>
      </pc:sldChg>
      <pc:sldChg chg="addSp delSp modSp new add del mod modClrScheme chgLayout">
        <pc:chgData name="Harley Moulder" userId="0a88a361-035f-4715-887f-acd0b1f7fe0a" providerId="ADAL" clId="{461F4874-F567-4E17-862E-2157E3F7EBC9}" dt="2024-12-23T16:35:02.350" v="97" actId="2696"/>
        <pc:sldMkLst>
          <pc:docMk/>
          <pc:sldMk cId="1998885181" sldId="259"/>
        </pc:sldMkLst>
      </pc:sldChg>
      <pc:sldChg chg="addSp delSp modSp new add mod ord modClrScheme chgLayout">
        <pc:chgData name="Harley Moulder" userId="0a88a361-035f-4715-887f-acd0b1f7fe0a" providerId="ADAL" clId="{461F4874-F567-4E17-862E-2157E3F7EBC9}" dt="2024-12-23T16:34:12.341" v="55"/>
        <pc:sldMkLst>
          <pc:docMk/>
          <pc:sldMk cId="1247061769" sldId="260"/>
        </pc:sldMkLst>
      </pc:sldChg>
      <pc:sldChg chg="addSp delSp modSp new add mod ord chgLayout">
        <pc:chgData name="Harley Moulder" userId="0a88a361-035f-4715-887f-acd0b1f7fe0a" providerId="ADAL" clId="{461F4874-F567-4E17-862E-2157E3F7EBC9}" dt="2024-12-23T16:34:42.474" v="75"/>
        <pc:sldMkLst>
          <pc:docMk/>
          <pc:sldMk cId="4056287359" sldId="261"/>
        </pc:sldMkLst>
        <pc:spChg chg="add mod ord">
          <ac:chgData name="Harley Moulder" userId="0a88a361-035f-4715-887f-acd0b1f7fe0a" providerId="ADAL" clId="{461F4874-F567-4E17-862E-2157E3F7EBC9}" dt="2024-12-23T16:34:41.875" v="61"/>
          <ac:spMkLst>
            <pc:docMk/>
            <pc:sldMk cId="4056287359" sldId="261"/>
            <ac:spMk id="7" creationId="{FB5864E9-A4E2-448C-895E-07519EC011F8}"/>
          </ac:spMkLst>
        </pc:spChg>
        <pc:spChg chg="add mod ord">
          <ac:chgData name="Harley Moulder" userId="0a88a361-035f-4715-887f-acd0b1f7fe0a" providerId="ADAL" clId="{461F4874-F567-4E17-862E-2157E3F7EBC9}" dt="2024-12-23T16:34:41.875" v="61"/>
          <ac:spMkLst>
            <pc:docMk/>
            <pc:sldMk cId="4056287359" sldId="261"/>
            <ac:spMk id="8" creationId="{1351393E-E51E-41E0-ABE2-AAC8E63F2D1A}"/>
          </ac:spMkLst>
        </pc:spChg>
        <pc:graphicFrameChg chg="add mod ord modVis">
          <ac:chgData name="Harley Moulder" userId="0a88a361-035f-4715-887f-acd0b1f7fe0a" providerId="ADAL" clId="{461F4874-F567-4E17-862E-2157E3F7EBC9}" dt="2024-12-23T16:34:42.474" v="75"/>
          <ac:graphicFrameMkLst>
            <pc:docMk/>
            <pc:sldMk cId="4056287359" sldId="261"/>
            <ac:graphicFrameMk id="9" creationId="{9508D0B0-DC0F-4177-83C6-C2DBFA9B7F8C}"/>
          </ac:graphicFrameMkLst>
        </pc:graphicFrameChg>
      </pc:sldChg>
      <pc:sldChg chg="addSp delSp modSp new add del mod chgLayout">
        <pc:chgData name="Harley Moulder" userId="0a88a361-035f-4715-887f-acd0b1f7fe0a" providerId="ADAL" clId="{461F4874-F567-4E17-862E-2157E3F7EBC9}" dt="2024-12-23T16:35:20.064" v="118" actId="2696"/>
        <pc:sldMkLst>
          <pc:docMk/>
          <pc:sldMk cId="3475657016" sldId="262"/>
        </pc:sldMkLst>
      </pc:sldChg>
      <pc:sldChg chg="addSp delSp modSp new add mod ord modClrScheme chgLayout">
        <pc:chgData name="Harley Moulder" userId="0a88a361-035f-4715-887f-acd0b1f7fe0a" providerId="ADAL" clId="{461F4874-F567-4E17-862E-2157E3F7EBC9}" dt="2024-12-23T16:35:17.677" v="117"/>
        <pc:sldMkLst>
          <pc:docMk/>
          <pc:sldMk cId="2413926387" sldId="263"/>
        </pc:sldMkLst>
        <pc:spChg chg="add mod ord">
          <ac:chgData name="Harley Moulder" userId="0a88a361-035f-4715-887f-acd0b1f7fe0a" providerId="ADAL" clId="{461F4874-F567-4E17-862E-2157E3F7EBC9}" dt="2024-12-23T16:35:14.340" v="101"/>
          <ac:spMkLst>
            <pc:docMk/>
            <pc:sldMk cId="2413926387" sldId="263"/>
            <ac:spMk id="3" creationId="{3852B5E9-A4DE-4C75-AA5C-E7D00DFBDED0}"/>
          </ac:spMkLst>
        </pc:spChg>
        <pc:spChg chg="add mod ord">
          <ac:chgData name="Harley Moulder" userId="0a88a361-035f-4715-887f-acd0b1f7fe0a" providerId="ADAL" clId="{461F4874-F567-4E17-862E-2157E3F7EBC9}" dt="2024-12-23T16:35:14.340" v="101"/>
          <ac:spMkLst>
            <pc:docMk/>
            <pc:sldMk cId="2413926387" sldId="263"/>
            <ac:spMk id="4" creationId="{2DF6EFCE-A001-43B7-9200-E7BB364A8374}"/>
          </ac:spMkLst>
        </pc:spChg>
        <pc:spChg chg="add mod ord">
          <ac:chgData name="Harley Moulder" userId="0a88a361-035f-4715-887f-acd0b1f7fe0a" providerId="ADAL" clId="{461F4874-F567-4E17-862E-2157E3F7EBC9}" dt="2024-12-23T16:35:14.340" v="101"/>
          <ac:spMkLst>
            <pc:docMk/>
            <pc:sldMk cId="2413926387" sldId="263"/>
            <ac:spMk id="5" creationId="{1915A4F2-08B7-4D2F-9C5A-B97D1CA3CC42}"/>
          </ac:spMkLst>
        </pc:spChg>
        <pc:spChg chg="add mod ord">
          <ac:chgData name="Harley Moulder" userId="0a88a361-035f-4715-887f-acd0b1f7fe0a" providerId="ADAL" clId="{461F4874-F567-4E17-862E-2157E3F7EBC9}" dt="2024-12-23T16:35:14.340" v="101"/>
          <ac:spMkLst>
            <pc:docMk/>
            <pc:sldMk cId="2413926387" sldId="263"/>
            <ac:spMk id="6" creationId="{DFEA86EB-64FF-43CC-8F50-426B83D7C720}"/>
          </ac:spMkLst>
        </pc:spChg>
        <pc:spChg chg="add mod ord">
          <ac:chgData name="Harley Moulder" userId="0a88a361-035f-4715-887f-acd0b1f7fe0a" providerId="ADAL" clId="{461F4874-F567-4E17-862E-2157E3F7EBC9}" dt="2024-12-23T16:35:14.340" v="101"/>
          <ac:spMkLst>
            <pc:docMk/>
            <pc:sldMk cId="2413926387" sldId="263"/>
            <ac:spMk id="7" creationId="{B426B705-C853-4372-8BC9-15B9B77E14C9}"/>
          </ac:spMkLst>
        </pc:spChg>
        <pc:graphicFrameChg chg="add mod ord modVis">
          <ac:chgData name="Harley Moulder" userId="0a88a361-035f-4715-887f-acd0b1f7fe0a" providerId="ADAL" clId="{461F4874-F567-4E17-862E-2157E3F7EBC9}" dt="2024-12-23T16:35:14.991" v="115"/>
          <ac:graphicFrameMkLst>
            <pc:docMk/>
            <pc:sldMk cId="2413926387" sldId="263"/>
            <ac:graphicFrameMk id="8" creationId="{2E7E65DC-93C0-48D8-A034-6C7CE7145090}"/>
          </ac:graphicFrameMkLst>
        </pc:graphicFrameChg>
      </pc:sldChg>
      <pc:sldChg chg="del">
        <pc:chgData name="Harley Moulder" userId="0a88a361-035f-4715-887f-acd0b1f7fe0a" providerId="ADAL" clId="{461F4874-F567-4E17-862E-2157E3F7EBC9}" dt="2024-12-23T16:33:16.203" v="0" actId="2696"/>
        <pc:sldMkLst>
          <pc:docMk/>
          <pc:sldMk cId="605356132" sldId="270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3179522668" sldId="271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3695035911" sldId="272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3113024403" sldId="275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3855603044" sldId="279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1031008879" sldId="280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4161381384" sldId="282"/>
        </pc:sldMkLst>
      </pc:sldChg>
      <pc:sldChg chg="del ord">
        <pc:chgData name="Harley Moulder" userId="0a88a361-035f-4715-887f-acd0b1f7fe0a" providerId="ADAL" clId="{461F4874-F567-4E17-862E-2157E3F7EBC9}" dt="2024-12-23T16:33:49.555" v="9" actId="2696"/>
        <pc:sldMkLst>
          <pc:docMk/>
          <pc:sldMk cId="3470919366" sldId="283"/>
        </pc:sldMkLst>
      </pc:sldChg>
      <pc:sldChg chg="del">
        <pc:chgData name="Harley Moulder" userId="0a88a361-035f-4715-887f-acd0b1f7fe0a" providerId="ADAL" clId="{461F4874-F567-4E17-862E-2157E3F7EBC9}" dt="2024-12-23T16:33:18.227" v="1" actId="2696"/>
        <pc:sldMkLst>
          <pc:docMk/>
          <pc:sldMk cId="3958664547" sldId="285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2552521030" sldId="286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2765328165" sldId="287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1163813945" sldId="289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3243788201" sldId="290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3377947312" sldId="291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3192429051" sldId="292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3018424831" sldId="293"/>
        </pc:sldMkLst>
      </pc:sldChg>
      <pc:sldChg chg="del ord">
        <pc:chgData name="Harley Moulder" userId="0a88a361-035f-4715-887f-acd0b1f7fe0a" providerId="ADAL" clId="{461F4874-F567-4E17-862E-2157E3F7EBC9}" dt="2024-12-23T16:33:31.574" v="7" actId="2696"/>
        <pc:sldMkLst>
          <pc:docMk/>
          <pc:sldMk cId="3127102465" sldId="294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1830902456" sldId="295"/>
        </pc:sldMkLst>
      </pc:sldChg>
      <pc:sldChg chg="del">
        <pc:chgData name="Harley Moulder" userId="0a88a361-035f-4715-887f-acd0b1f7fe0a" providerId="ADAL" clId="{461F4874-F567-4E17-862E-2157E3F7EBC9}" dt="2024-12-23T16:33:49.555" v="9" actId="2696"/>
        <pc:sldMkLst>
          <pc:docMk/>
          <pc:sldMk cId="2340985425" sldId="296"/>
        </pc:sldMkLst>
      </pc:sldChg>
    </pc:docChg>
  </pc:docChgLst>
  <pc:docChgLst>
    <pc:chgData name="Chatterjee, Sourav" userId="S::sourav.chatterjee@unt.edu::ce19e595-d77e-43eb-9063-a89fd278a721" providerId="AD" clId="Web-{3303A341-2ACE-687E-4EB2-4B7217BFBC50}"/>
    <pc:docChg chg="modSld sldOrd">
      <pc:chgData name="Chatterjee, Sourav" userId="S::sourav.chatterjee@unt.edu::ce19e595-d77e-43eb-9063-a89fd278a721" providerId="AD" clId="Web-{3303A341-2ACE-687E-4EB2-4B7217BFBC50}" dt="2025-01-16T23:10:15.345" v="45" actId="20577"/>
      <pc:docMkLst>
        <pc:docMk/>
      </pc:docMkLst>
      <pc:sldChg chg="modSp">
        <pc:chgData name="Chatterjee, Sourav" userId="S::sourav.chatterjee@unt.edu::ce19e595-d77e-43eb-9063-a89fd278a721" providerId="AD" clId="Web-{3303A341-2ACE-687E-4EB2-4B7217BFBC50}" dt="2025-01-16T23:04:30.628" v="0" actId="20577"/>
        <pc:sldMkLst>
          <pc:docMk/>
          <pc:sldMk cId="3483822718" sldId="256"/>
        </pc:sldMkLst>
        <pc:spChg chg="mod">
          <ac:chgData name="Chatterjee, Sourav" userId="S::sourav.chatterjee@unt.edu::ce19e595-d77e-43eb-9063-a89fd278a721" providerId="AD" clId="Web-{3303A341-2ACE-687E-4EB2-4B7217BFBC50}" dt="2025-01-16T23:04:30.628" v="0" actId="20577"/>
          <ac:spMkLst>
            <pc:docMk/>
            <pc:sldMk cId="3483822718" sldId="256"/>
            <ac:spMk id="2" creationId="{00211448-EFEE-4B2E-BCCF-BB85CC96293A}"/>
          </ac:spMkLst>
        </pc:spChg>
      </pc:sldChg>
      <pc:sldChg chg="modSp">
        <pc:chgData name="Chatterjee, Sourav" userId="S::sourav.chatterjee@unt.edu::ce19e595-d77e-43eb-9063-a89fd278a721" providerId="AD" clId="Web-{3303A341-2ACE-687E-4EB2-4B7217BFBC50}" dt="2025-01-16T23:08:11.840" v="32" actId="20577"/>
        <pc:sldMkLst>
          <pc:docMk/>
          <pc:sldMk cId="2413926387" sldId="263"/>
        </pc:sldMkLst>
        <pc:spChg chg="mod">
          <ac:chgData name="Chatterjee, Sourav" userId="S::sourav.chatterjee@unt.edu::ce19e595-d77e-43eb-9063-a89fd278a721" providerId="AD" clId="Web-{3303A341-2ACE-687E-4EB2-4B7217BFBC50}" dt="2025-01-16T23:07:25.901" v="29" actId="20577"/>
          <ac:spMkLst>
            <pc:docMk/>
            <pc:sldMk cId="2413926387" sldId="263"/>
            <ac:spMk id="4" creationId="{2DF6EFCE-A001-43B7-9200-E7BB364A8374}"/>
          </ac:spMkLst>
        </pc:spChg>
        <pc:spChg chg="mod">
          <ac:chgData name="Chatterjee, Sourav" userId="S::sourav.chatterjee@unt.edu::ce19e595-d77e-43eb-9063-a89fd278a721" providerId="AD" clId="Web-{3303A341-2ACE-687E-4EB2-4B7217BFBC50}" dt="2025-01-16T23:08:11.840" v="32" actId="20577"/>
          <ac:spMkLst>
            <pc:docMk/>
            <pc:sldMk cId="2413926387" sldId="263"/>
            <ac:spMk id="5" creationId="{1915A4F2-08B7-4D2F-9C5A-B97D1CA3CC42}"/>
          </ac:spMkLst>
        </pc:spChg>
      </pc:sldChg>
      <pc:sldChg chg="modSp">
        <pc:chgData name="Chatterjee, Sourav" userId="S::sourav.chatterjee@unt.edu::ce19e595-d77e-43eb-9063-a89fd278a721" providerId="AD" clId="Web-{3303A341-2ACE-687E-4EB2-4B7217BFBC50}" dt="2025-01-16T23:06:49.227" v="25" actId="20577"/>
        <pc:sldMkLst>
          <pc:docMk/>
          <pc:sldMk cId="2841273767" sldId="264"/>
        </pc:sldMkLst>
        <pc:spChg chg="mod">
          <ac:chgData name="Chatterjee, Sourav" userId="S::sourav.chatterjee@unt.edu::ce19e595-d77e-43eb-9063-a89fd278a721" providerId="AD" clId="Web-{3303A341-2ACE-687E-4EB2-4B7217BFBC50}" dt="2025-01-16T23:06:49.227" v="25" actId="20577"/>
          <ac:spMkLst>
            <pc:docMk/>
            <pc:sldMk cId="2841273767" sldId="264"/>
            <ac:spMk id="3" creationId="{8E351160-9766-C579-44C2-90D3EB5F4107}"/>
          </ac:spMkLst>
        </pc:spChg>
      </pc:sldChg>
      <pc:sldChg chg="ord">
        <pc:chgData name="Chatterjee, Sourav" userId="S::sourav.chatterjee@unt.edu::ce19e595-d77e-43eb-9063-a89fd278a721" providerId="AD" clId="Web-{3303A341-2ACE-687E-4EB2-4B7217BFBC50}" dt="2025-01-16T23:09:20.608" v="38"/>
        <pc:sldMkLst>
          <pc:docMk/>
          <pc:sldMk cId="1670815487" sldId="265"/>
        </pc:sldMkLst>
      </pc:sldChg>
      <pc:sldChg chg="ord">
        <pc:chgData name="Chatterjee, Sourav" userId="S::sourav.chatterjee@unt.edu::ce19e595-d77e-43eb-9063-a89fd278a721" providerId="AD" clId="Web-{3303A341-2ACE-687E-4EB2-4B7217BFBC50}" dt="2025-01-16T23:09:20.046" v="37"/>
        <pc:sldMkLst>
          <pc:docMk/>
          <pc:sldMk cId="2929853638" sldId="267"/>
        </pc:sldMkLst>
      </pc:sldChg>
      <pc:sldChg chg="modSp">
        <pc:chgData name="Chatterjee, Sourav" userId="S::sourav.chatterjee@unt.edu::ce19e595-d77e-43eb-9063-a89fd278a721" providerId="AD" clId="Web-{3303A341-2ACE-687E-4EB2-4B7217BFBC50}" dt="2025-01-16T23:10:15.345" v="45" actId="20577"/>
        <pc:sldMkLst>
          <pc:docMk/>
          <pc:sldMk cId="1519610265" sldId="269"/>
        </pc:sldMkLst>
        <pc:spChg chg="mod">
          <ac:chgData name="Chatterjee, Sourav" userId="S::sourav.chatterjee@unt.edu::ce19e595-d77e-43eb-9063-a89fd278a721" providerId="AD" clId="Web-{3303A341-2ACE-687E-4EB2-4B7217BFBC50}" dt="2025-01-16T23:10:15.345" v="45" actId="20577"/>
          <ac:spMkLst>
            <pc:docMk/>
            <pc:sldMk cId="1519610265" sldId="269"/>
            <ac:spMk id="2" creationId="{873580B0-F982-306B-39EF-844D0C59C371}"/>
          </ac:spMkLst>
        </pc:spChg>
      </pc:sldChg>
      <pc:sldChg chg="ord">
        <pc:chgData name="Chatterjee, Sourav" userId="S::sourav.chatterjee@unt.edu::ce19e595-d77e-43eb-9063-a89fd278a721" providerId="AD" clId="Web-{3303A341-2ACE-687E-4EB2-4B7217BFBC50}" dt="2025-01-16T23:09:20.608" v="39"/>
        <pc:sldMkLst>
          <pc:docMk/>
          <pc:sldMk cId="3834010864" sldId="275"/>
        </pc:sldMkLst>
      </pc:sldChg>
    </pc:docChg>
  </pc:docChgLst>
  <pc:docChgLst>
    <pc:chgData name="Chatterjee, Sourav" userId="ce19e595-d77e-43eb-9063-a89fd278a721" providerId="ADAL" clId="{E5C34F41-03DE-4495-B1D5-EF758D516288}"/>
    <pc:docChg chg="custSel modSld">
      <pc:chgData name="Chatterjee, Sourav" userId="ce19e595-d77e-43eb-9063-a89fd278a721" providerId="ADAL" clId="{E5C34F41-03DE-4495-B1D5-EF758D516288}" dt="2025-01-17T11:37:29.236" v="23" actId="20577"/>
      <pc:docMkLst>
        <pc:docMk/>
      </pc:docMkLst>
      <pc:sldChg chg="modSp mod">
        <pc:chgData name="Chatterjee, Sourav" userId="ce19e595-d77e-43eb-9063-a89fd278a721" providerId="ADAL" clId="{E5C34F41-03DE-4495-B1D5-EF758D516288}" dt="2025-01-17T11:37:29.236" v="23" actId="20577"/>
        <pc:sldMkLst>
          <pc:docMk/>
          <pc:sldMk cId="2841273767" sldId="264"/>
        </pc:sldMkLst>
        <pc:spChg chg="mod">
          <ac:chgData name="Chatterjee, Sourav" userId="ce19e595-d77e-43eb-9063-a89fd278a721" providerId="ADAL" clId="{E5C34F41-03DE-4495-B1D5-EF758D516288}" dt="2025-01-17T11:37:29.236" v="23" actId="20577"/>
          <ac:spMkLst>
            <pc:docMk/>
            <pc:sldMk cId="2841273767" sldId="264"/>
            <ac:spMk id="3" creationId="{8E351160-9766-C579-44C2-90D3EB5F4107}"/>
          </ac:spMkLst>
        </pc:spChg>
      </pc:sldChg>
      <pc:sldChg chg="modSp mod">
        <pc:chgData name="Chatterjee, Sourav" userId="ce19e595-d77e-43eb-9063-a89fd278a721" providerId="ADAL" clId="{E5C34F41-03DE-4495-B1D5-EF758D516288}" dt="2025-01-17T11:22:23.842" v="0" actId="20577"/>
        <pc:sldMkLst>
          <pc:docMk/>
          <pc:sldMk cId="176388289" sldId="273"/>
        </pc:sldMkLst>
        <pc:spChg chg="mod">
          <ac:chgData name="Chatterjee, Sourav" userId="ce19e595-d77e-43eb-9063-a89fd278a721" providerId="ADAL" clId="{E5C34F41-03DE-4495-B1D5-EF758D516288}" dt="2025-01-17T11:22:23.842" v="0" actId="20577"/>
          <ac:spMkLst>
            <pc:docMk/>
            <pc:sldMk cId="176388289" sldId="273"/>
            <ac:spMk id="4" creationId="{5EC176BC-55F2-BE21-0074-68A046191116}"/>
          </ac:spMkLst>
        </pc:spChg>
      </pc:sldChg>
      <pc:sldChg chg="modSp mod">
        <pc:chgData name="Chatterjee, Sourav" userId="ce19e595-d77e-43eb-9063-a89fd278a721" providerId="ADAL" clId="{E5C34F41-03DE-4495-B1D5-EF758D516288}" dt="2025-01-17T11:23:28.557" v="12" actId="20577"/>
        <pc:sldMkLst>
          <pc:docMk/>
          <pc:sldMk cId="1989614207" sldId="279"/>
        </pc:sldMkLst>
        <pc:spChg chg="mod">
          <ac:chgData name="Chatterjee, Sourav" userId="ce19e595-d77e-43eb-9063-a89fd278a721" providerId="ADAL" clId="{E5C34F41-03DE-4495-B1D5-EF758D516288}" dt="2025-01-17T11:23:28.557" v="12" actId="20577"/>
          <ac:spMkLst>
            <pc:docMk/>
            <pc:sldMk cId="1989614207" sldId="279"/>
            <ac:spMk id="3" creationId="{8C55C19E-6A95-966D-9D11-C057A2F14B5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1AC66CB4-0733-594E-B86C-5124D529E98A}" type="datetime1">
              <a:rPr lang="en-US" smtClean="0"/>
              <a:t>1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CFAE970D-78E4-E24B-8957-EDD311703C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8555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233D63FF-CD3F-D24B-9359-7613E00AA1E3}" type="datetime1">
              <a:rPr lang="en-US" smtClean="0"/>
              <a:t>1/17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3CCE040E-F31C-9B46-A969-1690AB9E6F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6985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</a:rPr>
              <a:t>Nodes: Represents the airports in each airline network.</a:t>
            </a:r>
          </a:p>
          <a:p>
            <a:pPr lvl="1"/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</a:rPr>
              <a:t>Edges: Direct flight connections between two airports.</a:t>
            </a:r>
          </a:p>
          <a:p>
            <a:pPr lvl="1"/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</a:rPr>
              <a:t>Weights: Number or the frequency of flights along the rout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CE040E-F31C-9B46-A969-1690AB9E6F2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6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785" y="5555832"/>
            <a:ext cx="10684521" cy="1002197"/>
          </a:xfrm>
        </p:spPr>
        <p:txBody>
          <a:bodyPr anchor="t">
            <a:no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buNone/>
              <a:defRPr sz="2800" b="1" baseline="0">
                <a:solidFill>
                  <a:schemeClr val="accent4"/>
                </a:solidFill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buNone/>
              <a:defRPr sz="2800" baseline="0">
                <a:solidFill>
                  <a:schemeClr val="accent4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buNone/>
              <a:defRPr sz="1800" baseline="0">
                <a:solidFill>
                  <a:schemeClr val="accent4"/>
                </a:solidFill>
              </a:defRPr>
            </a:lvl3pPr>
            <a:lvl4pPr marL="509588" indent="0">
              <a:buNone/>
              <a:defRPr/>
            </a:lvl4pPr>
            <a:lvl5pPr marL="690563" indent="0">
              <a:buNone/>
              <a:defRPr/>
            </a:lvl5pPr>
          </a:lstStyle>
          <a:p>
            <a:pPr lvl="0"/>
            <a:r>
              <a:rPr lang="en-US"/>
              <a:t>Topic: Details</a:t>
            </a:r>
          </a:p>
          <a:p>
            <a:pPr lvl="1"/>
            <a:r>
              <a:rPr lang="en-US"/>
              <a:t>Subtitle</a:t>
            </a:r>
          </a:p>
          <a:p>
            <a:pPr lvl="2"/>
            <a:r>
              <a:rPr lang="en-US"/>
              <a:t>Month DD,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33006" y="398119"/>
            <a:ext cx="201930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2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69" y="6414401"/>
            <a:ext cx="1972044" cy="244392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5635"/>
            <a:ext cx="12192000" cy="9144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7785" y="1571478"/>
            <a:ext cx="4858511" cy="1997223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23"/>
          </p:nvPr>
        </p:nvSpPr>
        <p:spPr>
          <a:xfrm>
            <a:off x="6858002" y="1571478"/>
            <a:ext cx="4858511" cy="1997223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24"/>
          </p:nvPr>
        </p:nvSpPr>
        <p:spPr>
          <a:xfrm>
            <a:off x="467785" y="3924808"/>
            <a:ext cx="4858511" cy="199339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6858002" y="3924808"/>
            <a:ext cx="4858511" cy="199339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1572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69" y="6414401"/>
            <a:ext cx="1972044" cy="244392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5635"/>
            <a:ext cx="12192000" cy="91440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25"/>
          </p:nvPr>
        </p:nvSpPr>
        <p:spPr>
          <a:xfrm>
            <a:off x="463297" y="2032000"/>
            <a:ext cx="4856649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7" y="1568450"/>
            <a:ext cx="4848455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861980" y="1568450"/>
            <a:ext cx="485241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6864097" y="3919300"/>
            <a:ext cx="485241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63297" y="3919300"/>
            <a:ext cx="4848455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idx="26"/>
          </p:nvPr>
        </p:nvSpPr>
        <p:spPr>
          <a:xfrm>
            <a:off x="6859864" y="2032000"/>
            <a:ext cx="4856649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63297" y="4382850"/>
            <a:ext cx="4856649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/>
          <p:cNvSpPr>
            <a:spLocks noGrp="1"/>
          </p:cNvSpPr>
          <p:nvPr>
            <p:ph idx="28"/>
          </p:nvPr>
        </p:nvSpPr>
        <p:spPr>
          <a:xfrm>
            <a:off x="6859864" y="4382850"/>
            <a:ext cx="4856649" cy="1530700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679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e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69" y="6414401"/>
            <a:ext cx="1972044" cy="244392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5635"/>
            <a:ext cx="12192000" cy="91440"/>
          </a:xfrm>
          <a:prstGeom prst="rect">
            <a:avLst/>
          </a:prstGeom>
        </p:spPr>
      </p:pic>
      <p:sp>
        <p:nvSpPr>
          <p:cNvPr id="6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6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8361595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412445" y="1574800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8361595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63296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4412445" y="4070493"/>
            <a:ext cx="335280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61180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33"/>
          </p:nvPr>
        </p:nvSpPr>
        <p:spPr>
          <a:xfrm>
            <a:off x="4412445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8363712" y="2038350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idx="35"/>
          </p:nvPr>
        </p:nvSpPr>
        <p:spPr>
          <a:xfrm>
            <a:off x="461180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2"/>
          <p:cNvSpPr>
            <a:spLocks noGrp="1"/>
          </p:cNvSpPr>
          <p:nvPr>
            <p:ph idx="36"/>
          </p:nvPr>
        </p:nvSpPr>
        <p:spPr>
          <a:xfrm>
            <a:off x="4412445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/>
          <p:cNvSpPr>
            <a:spLocks noGrp="1"/>
          </p:cNvSpPr>
          <p:nvPr>
            <p:ph idx="37"/>
          </p:nvPr>
        </p:nvSpPr>
        <p:spPr>
          <a:xfrm>
            <a:off x="8363712" y="4534043"/>
            <a:ext cx="3352800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64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oxe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467784" y="6377330"/>
            <a:ext cx="2112385" cy="3231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69" y="6414401"/>
            <a:ext cx="1972044" cy="244392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5635"/>
            <a:ext cx="12192000" cy="91440"/>
          </a:xfrm>
          <a:prstGeom prst="rect">
            <a:avLst/>
          </a:prstGeom>
        </p:spPr>
      </p:pic>
      <p:sp>
        <p:nvSpPr>
          <p:cNvPr id="6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63296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3378179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6293061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9207944" y="1574800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63296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3378179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6293061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9207944" y="4078514"/>
            <a:ext cx="2502219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0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42"/>
          </p:nvPr>
        </p:nvSpPr>
        <p:spPr>
          <a:xfrm>
            <a:off x="463296" y="2035656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56"/>
          </p:nvPr>
        </p:nvSpPr>
        <p:spPr>
          <a:xfrm>
            <a:off x="3378179" y="2035656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57"/>
          </p:nvPr>
        </p:nvSpPr>
        <p:spPr>
          <a:xfrm>
            <a:off x="6293061" y="2035656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6"/>
          <p:cNvSpPr>
            <a:spLocks noGrp="1"/>
          </p:cNvSpPr>
          <p:nvPr>
            <p:ph sz="quarter" idx="58"/>
          </p:nvPr>
        </p:nvSpPr>
        <p:spPr>
          <a:xfrm>
            <a:off x="9217152" y="2027189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59"/>
          </p:nvPr>
        </p:nvSpPr>
        <p:spPr>
          <a:xfrm>
            <a:off x="463296" y="4524028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60"/>
          </p:nvPr>
        </p:nvSpPr>
        <p:spPr>
          <a:xfrm>
            <a:off x="3378179" y="4524028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61"/>
          </p:nvPr>
        </p:nvSpPr>
        <p:spPr>
          <a:xfrm>
            <a:off x="6293061" y="4524028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6"/>
          <p:cNvSpPr>
            <a:spLocks noGrp="1"/>
          </p:cNvSpPr>
          <p:nvPr>
            <p:ph sz="quarter" idx="62"/>
          </p:nvPr>
        </p:nvSpPr>
        <p:spPr>
          <a:xfrm>
            <a:off x="9217152" y="4524028"/>
            <a:ext cx="2499360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8173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ey point Colou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646545" y="1949825"/>
            <a:ext cx="10898910" cy="3899647"/>
          </a:xfrm>
        </p:spPr>
        <p:txBody>
          <a:bodyPr/>
          <a:lstStyle>
            <a:lvl1pPr>
              <a:defRPr sz="2902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902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sz="2902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902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902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2902" baseline="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buAutoNum type="alphaLcPeriod"/>
              <a:defRPr sz="2902" baseline="0">
                <a:solidFill>
                  <a:schemeClr val="bg1"/>
                </a:solidFill>
              </a:defRPr>
            </a:lvl7pPr>
            <a:lvl8pPr marL="621948" indent="-207317">
              <a:buClr>
                <a:schemeClr val="bg1"/>
              </a:buClr>
              <a:buFont typeface="+mj-lt"/>
              <a:buAutoNum type="romanLcPeriod"/>
              <a:defRPr sz="2902">
                <a:solidFill>
                  <a:schemeClr val="bg1"/>
                </a:solidFill>
              </a:defRPr>
            </a:lvl8pPr>
            <a:lvl9pPr>
              <a:defRPr sz="2902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6546" y="1008530"/>
            <a:ext cx="1089891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cxnSp>
        <p:nvCxnSpPr>
          <p:cNvPr id="17" name="Shape 24"/>
          <p:cNvCxnSpPr/>
          <p:nvPr/>
        </p:nvCxnSpPr>
        <p:spPr>
          <a:xfrm flipV="1">
            <a:off x="461820" y="941295"/>
            <a:ext cx="11083639" cy="153295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3746" y="6252884"/>
            <a:ext cx="7007267" cy="13447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907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3456" y="6387354"/>
            <a:ext cx="2032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7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513456" y="6252882"/>
            <a:ext cx="2032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7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646546" y="6387354"/>
            <a:ext cx="3509818" cy="13447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907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wC  |  January 2014</a:t>
            </a:r>
          </a:p>
        </p:txBody>
      </p:sp>
    </p:spTree>
    <p:extLst>
      <p:ext uri="{BB962C8B-B14F-4D97-AF65-F5344CB8AC3E}">
        <p14:creationId xmlns:p14="http://schemas.microsoft.com/office/powerpoint/2010/main" val="1478410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Title"/>
          <p:cNvSpPr>
            <a:spLocks noGrp="1"/>
          </p:cNvSpPr>
          <p:nvPr>
            <p:ph type="body" sz="quarter" idx="11"/>
          </p:nvPr>
        </p:nvSpPr>
        <p:spPr>
          <a:xfrm>
            <a:off x="4114048" y="2934392"/>
            <a:ext cx="7602464" cy="914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 baseline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63297" y="2934392"/>
            <a:ext cx="3229572" cy="914400"/>
          </a:xfrm>
        </p:spPr>
        <p:txBody>
          <a:bodyPr>
            <a:noAutofit/>
          </a:bodyPr>
          <a:lstStyle>
            <a:lvl1pPr marL="0" indent="0" algn="r">
              <a:buNone/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3903457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 userDrawn="1"/>
        </p:nvCxnSpPr>
        <p:spPr bwMode="auto">
          <a:xfrm>
            <a:off x="3903457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155030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7784" y="402336"/>
            <a:ext cx="8961120" cy="9235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67784" y="1568451"/>
            <a:ext cx="11248729" cy="47291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CDBB97-2565-4AFC-A131-9839A026E7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‹#›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169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961120" cy="923544"/>
          </a:xfrm>
        </p:spPr>
        <p:txBody>
          <a:bodyPr lIns="0" tIns="0" rIns="0" bIns="0" anchor="t">
            <a:no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467784" y="6458121"/>
            <a:ext cx="2112385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02336"/>
            <a:ext cx="201930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68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961120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6" y="1568450"/>
            <a:ext cx="4856784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859864" y="1568450"/>
            <a:ext cx="4856784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63296" y="2092326"/>
            <a:ext cx="4858765" cy="382111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857747" y="2092326"/>
            <a:ext cx="4858765" cy="382111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DC69DB-EECA-FF8D-763F-6039E3AEC7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CAD7C58-E3B2-4107-A0F1-D535AABD4F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287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961120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67784" y="6458121"/>
            <a:ext cx="2112385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463297" y="1560846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/>
          <p:cNvSpPr>
            <a:spLocks noGrp="1"/>
          </p:cNvSpPr>
          <p:nvPr>
            <p:ph idx="26"/>
          </p:nvPr>
        </p:nvSpPr>
        <p:spPr>
          <a:xfrm>
            <a:off x="4498413" y="1560846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27"/>
          </p:nvPr>
        </p:nvSpPr>
        <p:spPr>
          <a:xfrm>
            <a:off x="8533530" y="1560846"/>
            <a:ext cx="3182983" cy="43525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042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961120" cy="923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67784" y="6458121"/>
            <a:ext cx="2112385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aseline="0" dirty="0">
                <a:solidFill>
                  <a:schemeClr val="accent4"/>
                </a:solidFill>
              </a:rPr>
              <a:t>Page </a:t>
            </a:r>
            <a:fld id="{50C6FCF5-5946-4146-A67F-21AD3F2F73BB}" type="slidenum">
              <a:rPr lang="en-US" sz="1050" baseline="0" smtClean="0">
                <a:solidFill>
                  <a:schemeClr val="accent4"/>
                </a:solidFill>
              </a:rPr>
              <a:pPr algn="l"/>
              <a:t>‹#›</a:t>
            </a:fld>
            <a:endParaRPr lang="en-US" sz="1050" baseline="0" dirty="0">
              <a:solidFill>
                <a:schemeClr val="accent4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25"/>
          </p:nvPr>
        </p:nvSpPr>
        <p:spPr>
          <a:xfrm>
            <a:off x="463297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/>
          <p:cNvSpPr>
            <a:spLocks noGrp="1"/>
          </p:cNvSpPr>
          <p:nvPr>
            <p:ph idx="26"/>
          </p:nvPr>
        </p:nvSpPr>
        <p:spPr>
          <a:xfrm>
            <a:off x="4498413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27"/>
          </p:nvPr>
        </p:nvSpPr>
        <p:spPr>
          <a:xfrm>
            <a:off x="8533530" y="2120900"/>
            <a:ext cx="3182983" cy="37925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463297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4498413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30" hasCustomPrompt="1"/>
          </p:nvPr>
        </p:nvSpPr>
        <p:spPr>
          <a:xfrm>
            <a:off x="8533530" y="1568450"/>
            <a:ext cx="318298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413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869680" cy="92354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28"/>
          </p:nvPr>
        </p:nvSpPr>
        <p:spPr>
          <a:xfrm>
            <a:off x="4578098" y="2120900"/>
            <a:ext cx="7138415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27"/>
          </p:nvPr>
        </p:nvSpPr>
        <p:spPr>
          <a:xfrm>
            <a:off x="461181" y="2120900"/>
            <a:ext cx="3208463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3297" y="1568450"/>
            <a:ext cx="320846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582330" y="1568450"/>
            <a:ext cx="7138415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B9C75E-0E12-F8BD-BD17-9116F72913C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CAD7C58-E3B2-4107-A0F1-D535AABD4F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19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8961120" cy="92354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28"/>
          </p:nvPr>
        </p:nvSpPr>
        <p:spPr>
          <a:xfrm>
            <a:off x="463297" y="2120900"/>
            <a:ext cx="7138415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27"/>
          </p:nvPr>
        </p:nvSpPr>
        <p:spPr>
          <a:xfrm>
            <a:off x="8508050" y="2120900"/>
            <a:ext cx="3208463" cy="379253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8508050" y="1568450"/>
            <a:ext cx="3208463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463297" y="1568450"/>
            <a:ext cx="7138415" cy="36933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Heading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ubheading 12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97213" y="411670"/>
            <a:ext cx="2019300" cy="9048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30132-1657-22BB-0438-C70803F330D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CAD7C58-E3B2-4107-A0F1-D535AABD4F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743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C22089F-CB5A-4193-A23F-A757205D94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9027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06" imgH="306" progId="TCLayout.ActiveDocument.1">
                  <p:embed/>
                </p:oleObj>
              </mc:Choice>
              <mc:Fallback>
                <p:oleObj name="think-cell Slide" r:id="rId17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22089F-CB5A-4193-A23F-A757205D9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296" y="402336"/>
            <a:ext cx="11253216" cy="9235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297" y="1568449"/>
            <a:ext cx="11248729" cy="47274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84A7A6-76A0-CB0A-9301-A3EE60BD85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9284" y="6356350"/>
            <a:ext cx="4845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AD7C58-E3B2-4107-A0F1-D535AABD4F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60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1" r:id="rId3"/>
    <p:sldLayoutId id="2147483662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2" r:id="rId10"/>
    <p:sldLayoutId id="2147483671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lang="en-US" sz="2400" b="1" kern="1200" smtClean="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9863" indent="-169863" algn="l" defTabSz="457200" rtl="0" eaLnBrk="1" latinLnBrk="0" hangingPunct="1">
        <a:spcBef>
          <a:spcPts val="1200"/>
        </a:spcBef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169863" algn="l" defTabSz="457200" rtl="0" eaLnBrk="1" latinLnBrk="0" hangingPunct="1">
        <a:spcBef>
          <a:spcPts val="400"/>
        </a:spcBef>
        <a:buFont typeface="Arial"/>
        <a:buChar char="–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09588" indent="-169863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180975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1450" algn="l" defTabSz="457200" rtl="0" eaLnBrk="1" latinLnBrk="0" hangingPunct="1">
        <a:spcBef>
          <a:spcPts val="400"/>
        </a:spcBef>
        <a:buFont typeface="Arial" panose="020B0604020202020204" pitchFamily="34" charset="0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tats.bts.gov/DL_SelectFields.aspx?gnoyr_VQ=GDM&amp;QO_fu146_anzr=Nv4%20Pn44vr45" TargetMode="External"/><Relationship Id="rId2" Type="http://schemas.openxmlformats.org/officeDocument/2006/relationships/hyperlink" Target="https://www.transtats.bts.gov/DL_SelectFields.aspx?gnoyr_VQ=FGJ&amp;QO_fu146_anzr=b0-gvzr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0211448-EFEE-4B2E-BCCF-BB85CC9629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3739" y="2208783"/>
            <a:ext cx="10753899" cy="1220217"/>
          </a:xfrm>
        </p:spPr>
        <p:txBody>
          <a:bodyPr/>
          <a:lstStyle/>
          <a:p>
            <a:pPr algn="ctr"/>
            <a:r>
              <a:rPr lang="en-US" sz="3000" dirty="0"/>
              <a:t>The Role of Network Design in Airline Performance</a:t>
            </a:r>
            <a:r>
              <a:rPr lang="en-US" sz="3000" dirty="0">
                <a:solidFill>
                  <a:schemeClr val="bg2"/>
                </a:solidFill>
              </a:rPr>
              <a:t>:</a:t>
            </a:r>
          </a:p>
          <a:p>
            <a:pPr algn="ctr"/>
            <a:endParaRPr lang="en-US" sz="3000" dirty="0"/>
          </a:p>
          <a:p>
            <a:pPr algn="ctr"/>
            <a:r>
              <a:rPr lang="en-US" sz="3000" dirty="0"/>
              <a:t>A Data Driven Approach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9CEDCEB8-58DD-29FC-347B-DA3BB9BB0339}"/>
              </a:ext>
            </a:extLst>
          </p:cNvPr>
          <p:cNvSpPr txBox="1">
            <a:spLocks/>
          </p:cNvSpPr>
          <p:nvPr/>
        </p:nvSpPr>
        <p:spPr>
          <a:xfrm>
            <a:off x="6679719" y="4673062"/>
            <a:ext cx="4827919" cy="14948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88000"/>
              </a:lnSpc>
              <a:spcBef>
                <a:spcPts val="0"/>
              </a:spcBef>
              <a:buFont typeface="Arial"/>
              <a:buNone/>
              <a:defRPr sz="2800" b="1" kern="1200" baseline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lnSpc>
                <a:spcPct val="88000"/>
              </a:lnSpc>
              <a:spcBef>
                <a:spcPts val="0"/>
              </a:spcBef>
              <a:buFont typeface="Arial"/>
              <a:buNone/>
              <a:defRPr sz="2800" kern="1200" baseline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457200" rtl="0" eaLnBrk="1" latinLnBrk="0" hangingPunct="1">
              <a:lnSpc>
                <a:spcPct val="88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509588" indent="0" algn="l" defTabSz="4572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0" algn="l" defTabSz="4572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0" dirty="0"/>
          </a:p>
          <a:p>
            <a:pPr algn="ctr"/>
            <a:r>
              <a:rPr lang="en-US" sz="1800" b="0" dirty="0"/>
              <a:t>Padma Sree Manda</a:t>
            </a:r>
          </a:p>
          <a:p>
            <a:pPr algn="ctr"/>
            <a:r>
              <a:rPr lang="en-US" sz="1800" b="0" dirty="0"/>
              <a:t>Department of ITDS, University of North Texas</a:t>
            </a:r>
          </a:p>
          <a:p>
            <a:pPr algn="ctr"/>
            <a:endParaRPr lang="en-US" sz="1800" b="0" dirty="0"/>
          </a:p>
          <a:p>
            <a:pPr algn="ctr"/>
            <a:r>
              <a:rPr lang="en-US" sz="1800" b="0" dirty="0"/>
              <a:t>Under the guidance of</a:t>
            </a:r>
          </a:p>
          <a:p>
            <a:pPr algn="ctr"/>
            <a:r>
              <a:rPr lang="en-US" sz="1800" b="0" dirty="0"/>
              <a:t>Dr. Sourav Chatterjee</a:t>
            </a:r>
          </a:p>
        </p:txBody>
      </p:sp>
    </p:spTree>
    <p:extLst>
      <p:ext uri="{BB962C8B-B14F-4D97-AF65-F5344CB8AC3E}">
        <p14:creationId xmlns:p14="http://schemas.microsoft.com/office/powerpoint/2010/main" val="3483822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E448FF-814D-BE52-F3DF-51C293E9415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8" name="Content Placeholder 7" descr="A diagram of a molecule&#10;&#10;Description automatically generated with medium confidence">
            <a:extLst>
              <a:ext uri="{FF2B5EF4-FFF2-40B4-BE49-F238E27FC236}">
                <a16:creationId xmlns:a16="http://schemas.microsoft.com/office/drawing/2014/main" id="{2DDB8D7B-52D0-FFC7-AAE0-4BF939F0BB97}"/>
              </a:ext>
            </a:extLst>
          </p:cNvPr>
          <p:cNvPicPr>
            <a:picLocks noGrp="1" noChangeAspect="1"/>
          </p:cNvPicPr>
          <p:nvPr>
            <p:ph idx="28"/>
          </p:nvPr>
        </p:nvPicPr>
        <p:blipFill>
          <a:blip r:embed="rId2"/>
          <a:stretch>
            <a:fillRect/>
          </a:stretch>
        </p:blipFill>
        <p:spPr>
          <a:xfrm>
            <a:off x="1453896" y="388168"/>
            <a:ext cx="7909559" cy="61568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44954C-ACAA-34E9-612E-4C79C10C7F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896" y="388168"/>
            <a:ext cx="1627632" cy="2515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3858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ECB74D-4EF0-EC82-0F6B-C7579EC2EF3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Content Placeholder 7" descr="A network of lines and dots&#10;&#10;Description automatically generated">
            <a:extLst>
              <a:ext uri="{FF2B5EF4-FFF2-40B4-BE49-F238E27FC236}">
                <a16:creationId xmlns:a16="http://schemas.microsoft.com/office/drawing/2014/main" id="{A4D78343-38CC-F079-B05C-09ABF2D2E23F}"/>
              </a:ext>
            </a:extLst>
          </p:cNvPr>
          <p:cNvPicPr>
            <a:picLocks noGrp="1" noChangeAspect="1"/>
          </p:cNvPicPr>
          <p:nvPr>
            <p:ph idx="28"/>
          </p:nvPr>
        </p:nvPicPr>
        <p:blipFill>
          <a:blip r:embed="rId2"/>
          <a:stretch>
            <a:fillRect/>
          </a:stretch>
        </p:blipFill>
        <p:spPr>
          <a:xfrm>
            <a:off x="1655064" y="228001"/>
            <a:ext cx="7807101" cy="6128350"/>
          </a:xfrm>
          <a:prstGeom prst="rect">
            <a:avLst/>
          </a:prstGeom>
        </p:spPr>
      </p:pic>
      <p:pic>
        <p:nvPicPr>
          <p:cNvPr id="9" name="Picture 8" descr="Blue letters on a black background&#10;&#10;Description automatically generated">
            <a:extLst>
              <a:ext uri="{FF2B5EF4-FFF2-40B4-BE49-F238E27FC236}">
                <a16:creationId xmlns:a16="http://schemas.microsoft.com/office/drawing/2014/main" id="{5F407A2E-7784-7B18-C1B3-15B774913B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064" y="259876"/>
            <a:ext cx="2063090" cy="3619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1586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C7F527-6227-FA4B-8F15-C1BBBC2E066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2C4AFB9-967A-1A40-1A92-EBF88A60648E}"/>
              </a:ext>
            </a:extLst>
          </p:cNvPr>
          <p:cNvPicPr>
            <a:picLocks noGrp="1" noChangeAspect="1"/>
          </p:cNvPicPr>
          <p:nvPr>
            <p:ph idx="28"/>
          </p:nvPr>
        </p:nvPicPr>
        <p:blipFill>
          <a:blip r:embed="rId2"/>
          <a:stretch>
            <a:fillRect/>
          </a:stretch>
        </p:blipFill>
        <p:spPr>
          <a:xfrm>
            <a:off x="1382063" y="118872"/>
            <a:ext cx="8127697" cy="6403922"/>
          </a:xfrm>
          <a:prstGeom prst="rect">
            <a:avLst/>
          </a:prstGeom>
        </p:spPr>
      </p:pic>
      <p:pic>
        <p:nvPicPr>
          <p:cNvPr id="9" name="Picture 8" descr="A blue and black logo&#10;&#10;Description automatically generated">
            <a:extLst>
              <a:ext uri="{FF2B5EF4-FFF2-40B4-BE49-F238E27FC236}">
                <a16:creationId xmlns:a16="http://schemas.microsoft.com/office/drawing/2014/main" id="{EA5257BE-6EEA-0EA1-BA93-0B7F5B0072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063" y="143335"/>
            <a:ext cx="2483030" cy="3837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7973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F138F-4E5E-0A81-558D-13A005C1E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Analysis – Centrality Mea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E44591-FEF5-BFC9-04D7-A04EE18D1E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o gain insights into the structure of each network graph, several measures have been used.</a:t>
            </a:r>
          </a:p>
          <a:p>
            <a:pPr lvl="1"/>
            <a:r>
              <a:rPr lang="en-US" sz="2000" dirty="0">
                <a:solidFill>
                  <a:schemeClr val="bg2"/>
                </a:solidFill>
              </a:rPr>
              <a:t>Degree Centrality – Number of Direct Connections. Major hubs will have higher number</a:t>
            </a:r>
          </a:p>
          <a:p>
            <a:pPr lvl="1"/>
            <a:endParaRPr lang="en-US" sz="2000" dirty="0">
              <a:solidFill>
                <a:schemeClr val="bg2"/>
              </a:solidFill>
            </a:endParaRPr>
          </a:p>
          <a:p>
            <a:pPr lvl="1"/>
            <a:r>
              <a:rPr lang="en-US" sz="2000" dirty="0">
                <a:solidFill>
                  <a:schemeClr val="bg2"/>
                </a:solidFill>
              </a:rPr>
              <a:t>Betweenness Centrality – Measure of how frequently a node appears in the shortest path between all pair of nodes</a:t>
            </a:r>
          </a:p>
          <a:p>
            <a:pPr lvl="1"/>
            <a:endParaRPr lang="en-US" sz="2000" dirty="0">
              <a:solidFill>
                <a:schemeClr val="bg2"/>
              </a:solidFill>
            </a:endParaRPr>
          </a:p>
          <a:p>
            <a:pPr lvl="1"/>
            <a:r>
              <a:rPr lang="en-US" sz="2000" dirty="0">
                <a:solidFill>
                  <a:schemeClr val="bg2"/>
                </a:solidFill>
              </a:rPr>
              <a:t>Closeness Centrality – Nodes that contribute to the efficient pathways within the network will exhibit higher values of this measure</a:t>
            </a:r>
          </a:p>
          <a:p>
            <a:pPr lvl="1"/>
            <a:endParaRPr lang="en-US" sz="2000" dirty="0">
              <a:solidFill>
                <a:schemeClr val="bg2"/>
              </a:solidFill>
            </a:endParaRPr>
          </a:p>
          <a:p>
            <a:pPr lvl="1"/>
            <a:r>
              <a:rPr lang="en-US" sz="2000" dirty="0">
                <a:solidFill>
                  <a:schemeClr val="bg2"/>
                </a:solidFill>
              </a:rPr>
              <a:t>Eigenvector Centrality – Measure of the influence that a node yields within the network. In essence, nodes connected to other significant nodes tend to have a higher value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3FC1DF-F98D-1C7C-1A37-B2472FA09A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2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565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035CD-2B6A-145C-E369-951EE3D5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gree Centrality vs Betweenness Centra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5103E4-FEDC-05E9-1350-036E42D081F1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461181" y="1647646"/>
            <a:ext cx="3524223" cy="4265794"/>
          </a:xfrm>
        </p:spPr>
        <p:txBody>
          <a:bodyPr/>
          <a:lstStyle/>
          <a:p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outhwest Airlines has a significantly lower betweenness centrality value compared to legacy carriers.</a:t>
            </a:r>
          </a:p>
          <a:p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his difference may stem from the fact that high-traffic airports are interconnected rather than being organized around a central hub, which characterizes a hub-and-spoke system.</a:t>
            </a:r>
          </a:p>
          <a:p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h</a:t>
            </a:r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 interconnected set of airports results in a high degree of centrality but not necessarily frequent inclusion in the shortest paths, resulting in a lower betweenness value</a:t>
            </a:r>
            <a:endParaRPr lang="en-US" sz="1600" dirty="0">
              <a:solidFill>
                <a:schemeClr val="bg2"/>
              </a:solidFill>
              <a:cs typeface="Times New Roman" panose="02020603050405020304" pitchFamily="18" charset="0"/>
            </a:endParaRPr>
          </a:p>
        </p:txBody>
      </p:sp>
      <p:pic>
        <p:nvPicPr>
          <p:cNvPr id="7" name="Picture 6" descr="A graph of different airlines&#10;&#10;Description automatically generated">
            <a:extLst>
              <a:ext uri="{FF2B5EF4-FFF2-40B4-BE49-F238E27FC236}">
                <a16:creationId xmlns:a16="http://schemas.microsoft.com/office/drawing/2014/main" id="{A8676277-E47E-122A-0991-FE00DAE62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3152" y="1503783"/>
            <a:ext cx="7578064" cy="440965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7C3483-5806-8272-DD5C-3091D53EDB9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4616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884AD-37D7-809A-8571-C04CDDA6C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gree Centrality vs Closeness Centra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195ECE-4791-C12C-16EF-809725858A04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461181" y="1606270"/>
            <a:ext cx="3567355" cy="4307169"/>
          </a:xfrm>
        </p:spPr>
        <p:txBody>
          <a:bodyPr/>
          <a:lstStyle/>
          <a:p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N</a:t>
            </a:r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nodes in Southwest Airlines exhibit low closeness values, suggesting that every airport is connected to others via efficient pathways, even if they are linked to fewer nodes.</a:t>
            </a:r>
          </a:p>
          <a:p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</a:rPr>
              <a:t>A</a:t>
            </a:r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ll nodes across the legacy airlines display at least mid-range closeness values, except for a specific node within United Airlines that records both degree and closeness values of zero.</a:t>
            </a:r>
          </a:p>
          <a:p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is node is a spoke airport with minimal connections. An airport that is connected to another spoke airport </a:t>
            </a:r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</a:rPr>
              <a:t>instead of a hub.</a:t>
            </a:r>
            <a:endParaRPr lang="en-US" sz="1600" dirty="0">
              <a:solidFill>
                <a:schemeClr val="bg2"/>
              </a:solidFill>
              <a:cs typeface="Times New Roman" panose="02020603050405020304" pitchFamily="18" charset="0"/>
            </a:endParaRPr>
          </a:p>
        </p:txBody>
      </p:sp>
      <p:pic>
        <p:nvPicPr>
          <p:cNvPr id="7" name="Picture 6" descr="A group of graphs showing different airlines&#10;&#10;Description automatically generated">
            <a:extLst>
              <a:ext uri="{FF2B5EF4-FFF2-40B4-BE49-F238E27FC236}">
                <a16:creationId xmlns:a16="http://schemas.microsoft.com/office/drawing/2014/main" id="{3CCD2022-CAE6-0C7C-A4A4-5072CBED4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7062" y="1606270"/>
            <a:ext cx="7421780" cy="430716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A897FE-59DD-A287-4198-3D5344CBE57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639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A543D-D2B1-C096-0596-C0E4EB2C3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gree Centrality vs Eigenvector Centra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C176BC-55F2-BE21-0074-68A046191116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461181" y="1568450"/>
            <a:ext cx="3731257" cy="4344990"/>
          </a:xfrm>
        </p:spPr>
        <p:txBody>
          <a:bodyPr/>
          <a:lstStyle/>
          <a:p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For Southwest Airlines, it is important to note that eigenvector values are lower compared to those of other airlines, which can be attributed to the different network structure employed. </a:t>
            </a:r>
          </a:p>
          <a:p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However, nodes with high degree centrality </a:t>
            </a:r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</a:rPr>
              <a:t>also have </a:t>
            </a:r>
            <a:r>
              <a:rPr lang="en-US" sz="16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high eigenvector values. This may be due to the interconnected nature of these nodes, enhancing their influence relative to airports that exhibit less interconnectivity</a:t>
            </a:r>
            <a:r>
              <a:rPr lang="en-US" sz="1600" dirty="0">
                <a:solidFill>
                  <a:schemeClr val="bg2"/>
                </a:solidFill>
                <a:ea typeface="Aptos" panose="020B0004020202020204" pitchFamily="34" charset="0"/>
              </a:rPr>
              <a:t>.</a:t>
            </a:r>
          </a:p>
          <a:p>
            <a:r>
              <a:rPr lang="en-US" sz="1600" dirty="0">
                <a:solidFill>
                  <a:schemeClr val="bg2"/>
                </a:solidFill>
              </a:rPr>
              <a:t>For legacy carriers, hubs and regional hubs have high eigenvector values whereas spokes have low values.</a:t>
            </a:r>
          </a:p>
        </p:txBody>
      </p:sp>
      <p:pic>
        <p:nvPicPr>
          <p:cNvPr id="7" name="Content Placeholder 6" descr="A group of graphs showing different airlines&#10;&#10;Description automatically generated">
            <a:extLst>
              <a:ext uri="{FF2B5EF4-FFF2-40B4-BE49-F238E27FC236}">
                <a16:creationId xmlns:a16="http://schemas.microsoft.com/office/drawing/2014/main" id="{0848E3E7-BB50-0AF8-28AF-6BAF6431D077}"/>
              </a:ext>
            </a:extLst>
          </p:cNvPr>
          <p:cNvPicPr>
            <a:picLocks noGrp="1" noChangeAspect="1"/>
          </p:cNvPicPr>
          <p:nvPr>
            <p:ph idx="28"/>
          </p:nvPr>
        </p:nvPicPr>
        <p:blipFill>
          <a:blip r:embed="rId2"/>
          <a:stretch>
            <a:fillRect/>
          </a:stretch>
        </p:blipFill>
        <p:spPr>
          <a:xfrm>
            <a:off x="4542679" y="1568449"/>
            <a:ext cx="7396280" cy="434919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DA6F22-2AD8-006A-1C5A-8AB620ED070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88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52F61-BA51-7A06-616F-F488A23E1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55C19E-6A95-966D-9D11-C057A2F14B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he key difference between the network structures namely Hub-and-Spoke and Point-to-Point have been understood based on various factors such as delays and various centrality measures.</a:t>
            </a:r>
          </a:p>
          <a:p>
            <a:r>
              <a:rPr lang="en-US" dirty="0">
                <a:solidFill>
                  <a:schemeClr val="bg2"/>
                </a:solidFill>
              </a:rPr>
              <a:t>From the regression results, all the models demonstrate a good fit as the test scores are close to the training scores. Decision Tree Regressor outperforms Linear Regression and provides other information relating to key predictors.</a:t>
            </a:r>
          </a:p>
          <a:p>
            <a:r>
              <a:rPr lang="en-US" dirty="0">
                <a:solidFill>
                  <a:schemeClr val="bg2"/>
                </a:solidFill>
              </a:rPr>
              <a:t>Southwest has a lower betweenness centrality value compared to other major carriers </a:t>
            </a:r>
          </a:p>
          <a:p>
            <a:r>
              <a:rPr lang="en-US" dirty="0">
                <a:solidFill>
                  <a:schemeClr val="bg2"/>
                </a:solidFill>
              </a:rPr>
              <a:t>Delta Airlines shows a traditional Hub-and-Spoke network structure with only one major hub having both highest Degree and Betweenness Centrality.</a:t>
            </a:r>
          </a:p>
          <a:p>
            <a:r>
              <a:rPr lang="en-US" dirty="0">
                <a:solidFill>
                  <a:schemeClr val="bg2"/>
                </a:solidFill>
              </a:rPr>
              <a:t>Nodes showing very low closeness centrality value could be an airport that works as a spoke connected to another spoke in </a:t>
            </a:r>
            <a:r>
              <a:rPr lang="en-US">
                <a:solidFill>
                  <a:schemeClr val="bg2"/>
                </a:solidFill>
              </a:rPr>
              <a:t>the Hub-and-Spoke </a:t>
            </a:r>
            <a:r>
              <a:rPr lang="en-US" dirty="0">
                <a:solidFill>
                  <a:schemeClr val="bg2"/>
                </a:solidFill>
              </a:rPr>
              <a:t>network. This phenomenon is observed in United Airlines.</a:t>
            </a:r>
          </a:p>
          <a:p>
            <a:r>
              <a:rPr lang="en-US" dirty="0">
                <a:solidFill>
                  <a:schemeClr val="bg2"/>
                </a:solidFill>
              </a:rPr>
              <a:t>Major Hubs and other Regional Hubs show high eigenvector values whereas the spoke nodes show a low eigenvector values. It is to be noted that Southwest eigenvector values are lower compared to other airlines in the industr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6279AB-FC94-1270-D16B-5261880427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6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6142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34F06-B623-8201-8F5E-7A4CD8F7F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DA153D-71E4-A67E-1F7B-1DCCCA259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Optimization of Hybrid Models: Identifying pairs that should be hub dependent and pairs that could benefit from direct routes.</a:t>
            </a:r>
          </a:p>
          <a:p>
            <a:r>
              <a:rPr lang="en-US" sz="2000" dirty="0">
                <a:solidFill>
                  <a:schemeClr val="bg2"/>
                </a:solidFill>
                <a:ea typeface="Aptos" panose="020B0004020202020204" pitchFamily="34" charset="0"/>
              </a:rPr>
              <a:t>Incorporating Passenger Preferences: Predicting routes that would attract more passengers. Developing recommendation systems for dynamic route offerings. </a:t>
            </a:r>
            <a:endParaRPr lang="en-US" sz="2000" dirty="0">
              <a:solidFill>
                <a:schemeClr val="bg2"/>
              </a:solidFill>
              <a:effectLst/>
              <a:ea typeface="Aptos" panose="020B00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2B646-BE9C-2F63-9143-4650753FBF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7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0146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EA11E-FDC9-9E1F-F25A-E53C2AB35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458A20-F35B-47B7-39C6-4619F0BDA5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Bureau of Transportation Statistics datasets.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Airline Networks: A Comparison of Hub-and-Spoke and Point-to-Point Systems.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Domestic airlines in the US (Industry report 48111B) – IBIS World.</a:t>
            </a:r>
          </a:p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1F2F51-F327-4D7F-E55E-B056571C7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8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010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08D0B0-DC0F-4177-83C6-C2DBFA9B7F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29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8D0B0-DC0F-4177-83C6-C2DBFA9B7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FB5864E9-A4E2-448C-895E-07519EC01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nd Objectiv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51393E-E51E-41E0-ABE2-AAC8E63F2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This project explores the impact of airline network structures on operational efficiency and on-time performance.</a:t>
            </a:r>
          </a:p>
          <a:p>
            <a:endParaRPr lang="en-US" dirty="0">
              <a:solidFill>
                <a:schemeClr val="bg2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Key Focus: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Hub-and-spoke vs. Point-to-Point model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Examining trade-offs between connectivity, passenger convenience, and flexibility.</a:t>
            </a:r>
          </a:p>
          <a:p>
            <a:pPr marL="0" indent="0">
              <a:buNone/>
            </a:pP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37F3921-3256-59FF-963C-7744CB0866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8823" y="3967729"/>
            <a:ext cx="3201970" cy="21395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5EFB840-8911-9420-B14A-A7CA4016DC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5881" y="3967729"/>
            <a:ext cx="3423249" cy="213953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58CB5-C949-70E1-50DB-0CF9697AEA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2873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8882B-56AA-B2CE-DF2E-5F1C538E8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273" y="2903995"/>
            <a:ext cx="8548432" cy="973061"/>
          </a:xfrm>
        </p:spPr>
        <p:txBody>
          <a:bodyPr/>
          <a:lstStyle/>
          <a:p>
            <a:pPr algn="ctr"/>
            <a:r>
              <a:rPr lang="en-US" sz="4800" dirty="0"/>
              <a:t>Questions/Com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AF355D-D58D-0B2F-A881-000D68B536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19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607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CC7C1545-47C2-483B-81C9-8CA646DB0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D6EE4C-E87C-428F-A888-44D2B16F5E7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07813" y="6356350"/>
            <a:ext cx="484187" cy="365125"/>
          </a:xfrm>
        </p:spPr>
        <p:txBody>
          <a:bodyPr/>
          <a:lstStyle/>
          <a:p>
            <a:fld id="{7CAD7C58-E3B2-4107-A0F1-D535AABD4FC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6556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A8B87-FBD1-D689-8170-EEA43EE9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Analysis – Feature Sele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89D48-7C10-7D54-CC25-4CD71AB204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800" dirty="0"/>
              <a:t>Statistical Approa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5D622D-95C4-A66D-0BAF-E118BA8609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800" dirty="0"/>
              <a:t>Machine Learning Approach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3E9E707-233D-928F-1AEB-3D6991769A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2"/>
                </a:solidFill>
              </a:rPr>
              <a:t>Needs Human Intervention.</a:t>
            </a:r>
          </a:p>
          <a:p>
            <a:r>
              <a:rPr lang="en-US" sz="1600" dirty="0">
                <a:solidFill>
                  <a:schemeClr val="bg2"/>
                </a:solidFill>
              </a:rPr>
              <a:t>Uses Statsmodel OLS model to train the data.</a:t>
            </a:r>
          </a:p>
          <a:p>
            <a:r>
              <a:rPr lang="en-US" sz="1600" dirty="0">
                <a:solidFill>
                  <a:schemeClr val="bg2"/>
                </a:solidFill>
              </a:rPr>
              <a:t>As per the summary report based on hypothesis testing, only the predictors that are statistically significant are chosen.</a:t>
            </a:r>
          </a:p>
          <a:p>
            <a:r>
              <a:rPr lang="en-US" sz="1600" dirty="0">
                <a:solidFill>
                  <a:schemeClr val="bg2"/>
                </a:solidFill>
              </a:rPr>
              <a:t>Statistical significance using p – values &lt; 0.05.</a:t>
            </a:r>
          </a:p>
          <a:p>
            <a:r>
              <a:rPr lang="en-US" sz="1600" dirty="0">
                <a:solidFill>
                  <a:schemeClr val="bg2"/>
                </a:solidFill>
              </a:rPr>
              <a:t>Selected Features –</a:t>
            </a:r>
          </a:p>
          <a:p>
            <a:pPr marL="169862" lvl="1" indent="0">
              <a:buNone/>
            </a:pPr>
            <a:r>
              <a:rPr lang="en-US" sz="1600" dirty="0">
                <a:solidFill>
                  <a:schemeClr val="bg2"/>
                </a:solidFill>
              </a:rPr>
              <a:t>Dep Delay, Network, Taxi in/out, types of delays, etc.</a:t>
            </a:r>
          </a:p>
          <a:p>
            <a:r>
              <a:rPr lang="en-US" sz="1600" dirty="0">
                <a:solidFill>
                  <a:schemeClr val="bg2"/>
                </a:solidFill>
              </a:rPr>
              <a:t>Total 12 predictors have been selected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74633F-6E07-CFB2-5A76-70D44A02972D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2"/>
                </a:solidFill>
              </a:rPr>
              <a:t>Automatic process without human intervention.</a:t>
            </a:r>
          </a:p>
          <a:p>
            <a:r>
              <a:rPr lang="en-US" sz="1600" dirty="0">
                <a:solidFill>
                  <a:schemeClr val="bg2"/>
                </a:solidFill>
              </a:rPr>
              <a:t>Uses Sequential Feature Selector process in Forward direction.</a:t>
            </a:r>
          </a:p>
          <a:p>
            <a:r>
              <a:rPr lang="en-US" sz="1600" dirty="0">
                <a:solidFill>
                  <a:schemeClr val="bg2"/>
                </a:solidFill>
              </a:rPr>
              <a:t>The model selects the best possible features or predictors by optimizing the R squared value.</a:t>
            </a:r>
          </a:p>
          <a:p>
            <a:r>
              <a:rPr lang="en-US" sz="1600" dirty="0">
                <a:solidFill>
                  <a:schemeClr val="bg2"/>
                </a:solidFill>
              </a:rPr>
              <a:t>Selected Features –</a:t>
            </a:r>
          </a:p>
          <a:p>
            <a:pPr marL="169862" lvl="1" indent="0">
              <a:buNone/>
            </a:pPr>
            <a:r>
              <a:rPr lang="en-US" sz="1600" dirty="0">
                <a:solidFill>
                  <a:schemeClr val="bg2"/>
                </a:solidFill>
              </a:rPr>
              <a:t>Dep Delay, Distance, Taxi in/out, Network, different types of delays, CRS Elapsed time, Departure/Arrival time blks, etc.</a:t>
            </a:r>
          </a:p>
          <a:p>
            <a:r>
              <a:rPr lang="en-US" sz="1600" dirty="0">
                <a:solidFill>
                  <a:schemeClr val="bg2"/>
                </a:solidFill>
              </a:rPr>
              <a:t>50 predictors have been chosen by the model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8BABF85-53F5-00FA-B83E-39C6999DA9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8536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7D4AA-703C-0BE8-7201-A44E71689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Analysis – Linear Regre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2C577A-1BDD-CE85-E33D-E0E13BFB75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e objective of this machine-learning model is to identify the optimal set of model parameters (coefficients) that minimizes the prediction error on the training dataset. 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is process is frequently accomplished through the application of optimization algorithms, and the problem is commonly referred to as the “Least Squares” optimization problem.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 the realm of linear regression, the Mean Squared Error (MSE) serves as the predominant objective function. 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SE quantifies the mean of the squared differences between the predicted values and the actual target values within the training dataset, thereby providing a measure of the model’s accuracy.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he major limitation of the linear regression model is that predictors and the target should be linearly related.</a:t>
            </a:r>
            <a:endParaRPr lang="en-US" dirty="0">
              <a:solidFill>
                <a:schemeClr val="bg2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2C7E7A-EE42-975C-BF03-7C0AD4C330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22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154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34F06-B623-8201-8F5E-7A4CD8F7F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DA153D-71E4-A67E-1F7B-1DCCCA259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e analysis highlights how airlines are evolving to stay competitive. </a:t>
            </a:r>
          </a:p>
          <a:p>
            <a:pPr lvl="1"/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Legacy carriers are adopting features from low-cost airlines to attract budget-conscious travelers, while low-cost carriers are expanding into underserved markets. 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Loyalty programs, technological advancements, and targeted service expansions demonstrate the adaptability of both models in a changing aviation landscape.</a:t>
            </a:r>
          </a:p>
          <a:p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Future Research</a:t>
            </a:r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</a:rPr>
              <a:t>:</a:t>
            </a:r>
          </a:p>
          <a:p>
            <a:pPr lvl="1"/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Optimization of Hybrid Models: Identifying pairs that should be hub dependent and pairs that could benefit from direct routes.</a:t>
            </a:r>
          </a:p>
          <a:p>
            <a:pPr lvl="1"/>
            <a:r>
              <a:rPr lang="en-US" dirty="0">
                <a:solidFill>
                  <a:schemeClr val="bg2"/>
                </a:solidFill>
                <a:ea typeface="Aptos" panose="020B0004020202020204" pitchFamily="34" charset="0"/>
              </a:rPr>
              <a:t>Incorporating Passenger Preferences: Predicting routes that would attract more passengers. Developing recommendation systems for dynamic route offerings. </a:t>
            </a:r>
            <a:endParaRPr lang="en-US" dirty="0">
              <a:solidFill>
                <a:schemeClr val="bg2"/>
              </a:solidFill>
              <a:effectLst/>
              <a:ea typeface="Aptos" panose="020B00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12B646-BE9C-2F63-9143-4650753FBF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23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68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3BD71-113C-46F3-61B7-79C0A2F0D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351160-9766-C579-44C2-90D3EB5F41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785" y="1591055"/>
            <a:ext cx="10788479" cy="4517137"/>
          </a:xfr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2"/>
                </a:solidFill>
              </a:rPr>
              <a:t>Reporting Carrier On-Time Performance:</a:t>
            </a: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e grain of the data is per carrier per city pair per flight per date.</a:t>
            </a:r>
            <a:endParaRPr lang="en-US" dirty="0">
              <a:solidFill>
                <a:schemeClr val="bg2"/>
              </a:solidFill>
              <a:effectLst/>
              <a:ea typeface="Aptos" panose="020B0004020202020204" pitchFamily="34" charset="0"/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Three prominent legacy carriers namely, Delta Airlines, American Airlines and United Airlines, along with Southwest Airlines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For analysis purpose, data has been restricted to </a:t>
            </a:r>
            <a:r>
              <a:rPr lang="en-US" b="1" dirty="0">
                <a:solidFill>
                  <a:schemeClr val="bg2"/>
                </a:solidFill>
              </a:rPr>
              <a:t>2018</a:t>
            </a:r>
            <a:r>
              <a:rPr lang="en-US" dirty="0">
                <a:solidFill>
                  <a:schemeClr val="bg2"/>
                </a:solidFill>
              </a:rPr>
              <a:t> yearly data which has more than 3.5M observations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Metrics include delays, cancellations, distance, and departure/arrival times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Target – Arrival Delay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cs typeface="Arial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chemeClr val="bg2"/>
                </a:solidFill>
              </a:rPr>
              <a:t>T-100 Segment Traffic Data:</a:t>
            </a: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The grain of the data is per carrier per city pair per month per year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The data has been restricted to four main airlines as discussed above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For analysis purpose, data has been restricted to </a:t>
            </a:r>
            <a:r>
              <a:rPr lang="en-US" b="1" dirty="0">
                <a:solidFill>
                  <a:schemeClr val="bg2"/>
                </a:solidFill>
              </a:rPr>
              <a:t>2018 – 2023 </a:t>
            </a:r>
            <a:r>
              <a:rPr lang="en-US" dirty="0">
                <a:solidFill>
                  <a:schemeClr val="bg2"/>
                </a:solidFill>
              </a:rPr>
              <a:t>period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Metrics include payload, seats, distance, and stage length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</a:rPr>
              <a:t>Derived indicators – Load Factor, ASM, RPM, etc.</a:t>
            </a:r>
            <a:endParaRPr lang="en-US" dirty="0">
              <a:solidFill>
                <a:schemeClr val="bg2"/>
              </a:solidFill>
              <a:cs typeface="Arial"/>
            </a:endParaRPr>
          </a:p>
          <a:p>
            <a:pPr lvl="1" indent="-169545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cs typeface="Arial"/>
            </a:endParaRPr>
          </a:p>
          <a:p>
            <a:pPr marL="169545" lvl="1" indent="0">
              <a:buNone/>
            </a:pPr>
            <a:endParaRPr lang="en-US" sz="1000" i="1" dirty="0">
              <a:solidFill>
                <a:schemeClr val="bg2">
                  <a:lumMod val="50000"/>
                  <a:lumOff val="50000"/>
                </a:schemeClr>
              </a:solidFill>
            </a:endParaRPr>
          </a:p>
          <a:p>
            <a:pPr marL="169545" lvl="1" indent="0">
              <a:buNone/>
            </a:pPr>
            <a:r>
              <a:rPr lang="en-US" sz="1000" i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Sources: The</a:t>
            </a:r>
            <a:r>
              <a:rPr lang="en-US" sz="1000" i="1" dirty="0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</a:rPr>
              <a:t> Bureau of Transportation Statistics website at</a:t>
            </a:r>
          </a:p>
          <a:p>
            <a:pPr marL="169545" lvl="1" indent="0">
              <a:buNone/>
            </a:pPr>
            <a:r>
              <a:rPr lang="en-US" sz="1000" i="1" u="sng" dirty="0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  <a:cs typeface="Times New Roma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tats.bts.gov/DL_SelectFields.aspx?gnoyr_VQ=FGJ&amp;QO_fu146_anzr=</a:t>
            </a:r>
            <a:r>
              <a:rPr lang="en-US" sz="1000" i="1" u="sng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  <a:cs typeface="Times New Roma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0-gvzr</a:t>
            </a:r>
            <a:r>
              <a:rPr lang="en-US" sz="1000" i="1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</a:rPr>
              <a:t> </a:t>
            </a:r>
            <a:r>
              <a:rPr lang="en-US" sz="1000" i="1">
                <a:solidFill>
                  <a:schemeClr val="bg2">
                    <a:lumMod val="50000"/>
                    <a:lumOff val="50000"/>
                  </a:schemeClr>
                </a:solidFill>
                <a:ea typeface="Aptos" panose="020B0004020202020204" pitchFamily="34" charset="0"/>
                <a:cs typeface="Arial"/>
              </a:rPr>
              <a:t>an</a:t>
            </a:r>
            <a:r>
              <a:rPr lang="en-US" sz="1000" i="1" kern="100">
                <a:solidFill>
                  <a:schemeClr val="bg2">
                    <a:lumMod val="50000"/>
                    <a:lumOff val="50000"/>
                  </a:schemeClr>
                </a:solidFill>
                <a:ea typeface="Aptos" panose="020B0004020202020204" pitchFamily="34" charset="0"/>
                <a:cs typeface="Times New Roman"/>
              </a:rPr>
              <a:t>d </a:t>
            </a:r>
            <a:endParaRPr lang="en-US" sz="1000" i="1" kern="100" dirty="0">
              <a:solidFill>
                <a:schemeClr val="bg2">
                  <a:lumMod val="50000"/>
                  <a:lumOff val="50000"/>
                </a:schemeClr>
              </a:solidFill>
              <a:ea typeface="Aptos" panose="020B0004020202020204" pitchFamily="34" charset="0"/>
              <a:cs typeface="Times New Roman"/>
            </a:endParaRPr>
          </a:p>
          <a:p>
            <a:pPr marL="169545" lvl="1" indent="0">
              <a:buNone/>
            </a:pPr>
            <a:r>
              <a:rPr lang="en-US" sz="1000" i="1" u="sng" dirty="0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  <a:cs typeface="Times New Roma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tats.bts.gov/DL_SelectFields.aspx?gnoyr_VQ=GDM&amp;QO_fu146_anzr=Nv4%20Pn44vr45</a:t>
            </a:r>
            <a:r>
              <a:rPr lang="en-US" sz="1000" i="1" dirty="0">
                <a:solidFill>
                  <a:schemeClr val="bg2">
                    <a:lumMod val="50000"/>
                    <a:lumOff val="50000"/>
                  </a:schemeClr>
                </a:solidFill>
                <a:effectLst/>
                <a:ea typeface="Aptos" panose="020B0004020202020204" pitchFamily="34" charset="0"/>
              </a:rPr>
              <a:t> </a:t>
            </a:r>
            <a:endParaRPr lang="en-US" sz="1000" i="1" dirty="0">
              <a:solidFill>
                <a:schemeClr val="bg2">
                  <a:lumMod val="50000"/>
                  <a:lumOff val="50000"/>
                </a:schemeClr>
              </a:solidFill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986630-1AEE-D0CD-8375-055499A709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2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273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E7E65DC-93C0-48D8-A034-6C7CE71450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449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7E65DC-93C0-48D8-A034-6C7CE7145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52B5E9-A4DE-4C75-AA5C-E7D00DFBD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EA86EB-64FF-43CC-8F50-426B83D7C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800" dirty="0"/>
              <a:t>Regression Analy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26B705-C853-4372-8BC9-15B9B77E14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800" dirty="0"/>
              <a:t>Network Analysi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F6EFCE-A001-43B7-9200-E7BB364A83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The process of analyzing the relationship between dependent (target) variable and one or more independent (predictors) variables.</a:t>
            </a:r>
            <a:endParaRPr lang="en-US" dirty="0">
              <a:solidFill>
                <a:schemeClr val="bg2"/>
              </a:solidFill>
            </a:endParaRPr>
          </a:p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Machine Learning Models such as Linear Regression and Decision Tree Regressor are used.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In this </a:t>
            </a:r>
            <a:r>
              <a:rPr lang="en-US" sz="1600" b="1" dirty="0">
                <a:solidFill>
                  <a:schemeClr val="bg2"/>
                </a:solidFill>
              </a:rPr>
              <a:t>Arrival Delay</a:t>
            </a:r>
            <a:r>
              <a:rPr lang="en-US" sz="1600" dirty="0">
                <a:solidFill>
                  <a:schemeClr val="bg2"/>
                </a:solidFill>
              </a:rPr>
              <a:t> is the target variables and other columns are taken as predictors.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Feature Selection: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Statistical Process (Human approach)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Machine Learning Based (Automatic)</a:t>
            </a:r>
            <a:endParaRPr lang="en-US" sz="16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915A4F2-08B7-4D2F-9C5A-B97D1CA3CC42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Network analysis is a set of techniques that utilize network theory to analyze social network influences by mapping relationships among entities based on their relative proximity and interconnectedness. </a:t>
            </a:r>
            <a:endParaRPr lang="en-US" dirty="0">
              <a:solidFill>
                <a:schemeClr val="bg2"/>
              </a:solidFill>
            </a:endParaRPr>
          </a:p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Centrality Measures: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Degree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Betweenness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Closeness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r>
              <a:rPr lang="en-US" sz="1600" dirty="0">
                <a:solidFill>
                  <a:schemeClr val="bg2"/>
                </a:solidFill>
              </a:rPr>
              <a:t>Eigenvector</a:t>
            </a:r>
            <a:endParaRPr lang="en-US" sz="1600" dirty="0">
              <a:solidFill>
                <a:schemeClr val="bg2"/>
              </a:solidFill>
              <a:cs typeface="Arial"/>
            </a:endParaRPr>
          </a:p>
          <a:p>
            <a:pPr lvl="1" indent="-169545"/>
            <a:endParaRPr lang="en-US" sz="1600" dirty="0">
              <a:solidFill>
                <a:schemeClr val="bg2"/>
              </a:solidFill>
              <a:cs typeface="Arial"/>
            </a:endParaRPr>
          </a:p>
          <a:p>
            <a:pPr marL="169545" indent="-169545"/>
            <a:r>
              <a:rPr lang="en-US" sz="1600" dirty="0">
                <a:solidFill>
                  <a:schemeClr val="bg2"/>
                </a:solidFill>
              </a:rPr>
              <a:t>Visualizing Airline Networks using network graphs or ego graphs.</a:t>
            </a:r>
            <a:endParaRPr lang="en-US" sz="16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0AF40A-3EEE-C0A4-C2B6-E313FA8A078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AD7C58-E3B2-4107-A0F1-D535AABD4FC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926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3580B0-F982-306B-39EF-844D0C59C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Regression Analysis – Resul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52FF558-0BA9-25BE-D57D-5E9D63C481C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7496016"/>
              </p:ext>
            </p:extLst>
          </p:nvPr>
        </p:nvGraphicFramePr>
        <p:xfrm>
          <a:off x="1182051" y="1518249"/>
          <a:ext cx="8246853" cy="43304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6416">
                  <a:extLst>
                    <a:ext uri="{9D8B030D-6E8A-4147-A177-3AD203B41FA5}">
                      <a16:colId xmlns:a16="http://schemas.microsoft.com/office/drawing/2014/main" val="2833057325"/>
                    </a:ext>
                  </a:extLst>
                </a:gridCol>
                <a:gridCol w="2540208">
                  <a:extLst>
                    <a:ext uri="{9D8B030D-6E8A-4147-A177-3AD203B41FA5}">
                      <a16:colId xmlns:a16="http://schemas.microsoft.com/office/drawing/2014/main" val="430604416"/>
                    </a:ext>
                  </a:extLst>
                </a:gridCol>
                <a:gridCol w="1667010">
                  <a:extLst>
                    <a:ext uri="{9D8B030D-6E8A-4147-A177-3AD203B41FA5}">
                      <a16:colId xmlns:a16="http://schemas.microsoft.com/office/drawing/2014/main" val="3924823650"/>
                    </a:ext>
                  </a:extLst>
                </a:gridCol>
                <a:gridCol w="1583219">
                  <a:extLst>
                    <a:ext uri="{9D8B030D-6E8A-4147-A177-3AD203B41FA5}">
                      <a16:colId xmlns:a16="http://schemas.microsoft.com/office/drawing/2014/main" val="1468935526"/>
                    </a:ext>
                  </a:extLst>
                </a:gridCol>
              </a:tblGrid>
              <a:tr h="15233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Model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Feature Selection Process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Train Score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Test Score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8410940"/>
                  </a:ext>
                </a:extLst>
              </a:tr>
              <a:tr h="70466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Linear Regression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Statistical (Human)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572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577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6137706"/>
                  </a:ext>
                </a:extLst>
              </a:tr>
              <a:tr h="70466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 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Machine (Automatic)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614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620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073108"/>
                  </a:ext>
                </a:extLst>
              </a:tr>
              <a:tr h="69317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Decision Tree Regressor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Statistical (Human)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821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813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3551441"/>
                  </a:ext>
                </a:extLst>
              </a:tr>
              <a:tr h="70466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(Max Depth = 13)</a:t>
                      </a:r>
                      <a:endParaRPr lang="en-US" sz="12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Machine (Automatic)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836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solidFill>
                            <a:schemeClr val="bg2"/>
                          </a:solidFill>
                          <a:effectLst/>
                        </a:rPr>
                        <a:t>0.9829</a:t>
                      </a:r>
                      <a:endParaRPr lang="en-US" sz="1200" kern="100" dirty="0">
                        <a:solidFill>
                          <a:schemeClr val="bg2"/>
                        </a:solidFill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41802381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142E2B-E6C6-5CDC-3765-582750A691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4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610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304A4-B03D-460B-6222-BB69DE877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Analysis – Decision Tree Regress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B10783-7423-0A1D-BFD0-5F21731927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The algorithm identifies the features that most effectively segregate the data into separate groups at each stage, resulting in a tree-like structure delineating the decision rules. </a:t>
            </a:r>
          </a:p>
          <a:p>
            <a:r>
              <a:rPr lang="en-US" sz="24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A key metric employed in decision tree algorithms is entropy, which serves to measure impurity or disorder within the data subsets throughout the process of constructing the tree. </a:t>
            </a:r>
          </a:p>
          <a:p>
            <a:r>
              <a:rPr lang="en-US" sz="2400" dirty="0">
                <a:solidFill>
                  <a:schemeClr val="bg2"/>
                </a:solidFill>
                <a:effectLst/>
                <a:ea typeface="Aptos" panose="020B0004020202020204" pitchFamily="34" charset="0"/>
              </a:rPr>
              <a:t>Entropy quantifies the level of uncertainty or randomness intrinsic to a set of data points and is integral to the computation of information gain.</a:t>
            </a:r>
          </a:p>
          <a:p>
            <a:r>
              <a:rPr lang="en-US" sz="2400" dirty="0">
                <a:solidFill>
                  <a:schemeClr val="bg2"/>
                </a:solidFill>
              </a:rPr>
              <a:t>DEP_DELAY is a key predictor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6693EE-ABDE-C642-CCD9-5E1085A3A5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5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514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8F7C03-09F4-6513-C8A0-D2D57DC4B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784" y="402336"/>
            <a:ext cx="8961120" cy="923544"/>
          </a:xfrm>
        </p:spPr>
        <p:txBody>
          <a:bodyPr anchor="t">
            <a:normAutofit/>
          </a:bodyPr>
          <a:lstStyle/>
          <a:p>
            <a:r>
              <a:rPr lang="en-US" dirty="0"/>
              <a:t>Regression Analysis – Decision Tree Regressor (cont.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FBC0F9-51A9-E616-4A37-39C460D25E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6</a:t>
            </a:fld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248F7BA9-8D8A-8265-51B0-13B83445EC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743461" y="1046480"/>
            <a:ext cx="9077482" cy="5409184"/>
          </a:xfrm>
        </p:spPr>
      </p:pic>
    </p:spTree>
    <p:extLst>
      <p:ext uri="{BB962C8B-B14F-4D97-AF65-F5344CB8AC3E}">
        <p14:creationId xmlns:p14="http://schemas.microsoft.com/office/powerpoint/2010/main" val="476944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7" descr="A diagram of a molecule&#10;&#10;Description automatically generated with medium confidence">
            <a:extLst>
              <a:ext uri="{FF2B5EF4-FFF2-40B4-BE49-F238E27FC236}">
                <a16:creationId xmlns:a16="http://schemas.microsoft.com/office/drawing/2014/main" id="{977795AC-496F-482E-BA28-22816598FB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949" y="3224403"/>
            <a:ext cx="4258055" cy="33145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331681-2E29-E33C-98C7-C6949C51B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Analysi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C2961-0315-8B70-13E7-FEFD43C794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bg2"/>
                </a:solidFill>
                <a:ea typeface="Aptos" panose="020B0004020202020204" pitchFamily="34" charset="0"/>
              </a:rPr>
              <a:t>Network graphs provide a visual and analytical presentation of relationship between the airports which are called nodes and the routes connecting them as edges. </a:t>
            </a:r>
          </a:p>
          <a:p>
            <a:r>
              <a:rPr lang="en-US" sz="2400" dirty="0">
                <a:solidFill>
                  <a:schemeClr val="bg2"/>
                </a:solidFill>
                <a:ea typeface="Aptos" panose="020B0004020202020204" pitchFamily="34" charset="0"/>
              </a:rPr>
              <a:t>Also, the weight of the line represents the frequency of flights along a route. </a:t>
            </a:r>
          </a:p>
          <a:p>
            <a:endParaRPr lang="en-US" dirty="0">
              <a:solidFill>
                <a:schemeClr val="bg2"/>
              </a:solidFill>
              <a:effectLst/>
              <a:ea typeface="Aptos" panose="020B0004020202020204" pitchFamily="34" charset="0"/>
            </a:endParaRPr>
          </a:p>
          <a:p>
            <a:pPr marL="0" indent="0">
              <a:buNone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C65EC7-9015-350B-42A2-14A51CFFAC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#</a:t>
            </a:r>
            <a:fld id="{7CAD7C58-E3B2-4107-A0F1-D535AABD4FCB}" type="slidenum">
              <a:rPr lang="en-US" smtClean="0">
                <a:solidFill>
                  <a:schemeClr val="bg2"/>
                </a:solidFill>
              </a:rPr>
              <a:pPr/>
              <a:t>7</a:t>
            </a:fld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681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network of connected lines and dots&#10;&#10;Description automatically generated">
            <a:extLst>
              <a:ext uri="{FF2B5EF4-FFF2-40B4-BE49-F238E27FC236}">
                <a16:creationId xmlns:a16="http://schemas.microsoft.com/office/drawing/2014/main" id="{1F621DCF-7D0A-3D94-5D2A-E1CE978B7FF8}"/>
              </a:ext>
            </a:extLst>
          </p:cNvPr>
          <p:cNvPicPr>
            <a:picLocks noGrp="1" noChangeAspect="1"/>
          </p:cNvPicPr>
          <p:nvPr>
            <p:ph idx="28"/>
          </p:nvPr>
        </p:nvPicPr>
        <p:blipFill rotWithShape="1">
          <a:blip r:embed="rId2"/>
          <a:srcRect t="1488"/>
          <a:stretch/>
        </p:blipFill>
        <p:spPr bwMode="auto">
          <a:xfrm>
            <a:off x="1618486" y="378980"/>
            <a:ext cx="7608279" cy="597736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E9EB7-B9D8-B2A8-16CB-CB1847C5178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0869284" y="6356350"/>
            <a:ext cx="484516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CAD7C58-E3B2-4107-A0F1-D535AABD4FCB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 dirty="0"/>
          </a:p>
        </p:txBody>
      </p:sp>
      <p:pic>
        <p:nvPicPr>
          <p:cNvPr id="6" name="Picture 5" descr="A black and grey text&#10;&#10;Description automatically generated">
            <a:extLst>
              <a:ext uri="{FF2B5EF4-FFF2-40B4-BE49-F238E27FC236}">
                <a16:creationId xmlns:a16="http://schemas.microsoft.com/office/drawing/2014/main" id="{3A9441A3-10EF-CF00-F008-11C323B90C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487" y="378981"/>
            <a:ext cx="2400691" cy="5422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6674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UNT">
      <a:dk1>
        <a:srgbClr val="FFFFFF"/>
      </a:dk1>
      <a:lt1>
        <a:srgbClr val="FFFFFF"/>
      </a:lt1>
      <a:dk2>
        <a:srgbClr val="00853E"/>
      </a:dk2>
      <a:lt2>
        <a:srgbClr val="222222"/>
      </a:lt2>
      <a:accent1>
        <a:srgbClr val="00853E"/>
      </a:accent1>
      <a:accent2>
        <a:srgbClr val="007235"/>
      </a:accent2>
      <a:accent3>
        <a:srgbClr val="666666"/>
      </a:accent3>
      <a:accent4>
        <a:srgbClr val="222222"/>
      </a:accent4>
      <a:accent5>
        <a:srgbClr val="00853E"/>
      </a:accent5>
      <a:accent6>
        <a:srgbClr val="00853E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95a0d3e-b01a-406a-b742-9c75561f40c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F62E07C09A2E479A158F9A5EA79405" ma:contentTypeVersion="17" ma:contentTypeDescription="Create a new document." ma:contentTypeScope="" ma:versionID="6a74b590e53d0cbd2ef1c24dde098be0">
  <xsd:schema xmlns:xsd="http://www.w3.org/2001/XMLSchema" xmlns:xs="http://www.w3.org/2001/XMLSchema" xmlns:p="http://schemas.microsoft.com/office/2006/metadata/properties" xmlns:ns3="e73c3f83-3367-4e11-b46e-245a4106ebfe" xmlns:ns4="695a0d3e-b01a-406a-b742-9c75561f40cb" targetNamespace="http://schemas.microsoft.com/office/2006/metadata/properties" ma:root="true" ma:fieldsID="06bd0c47ee9c462d79e43ed239d382a7" ns3:_="" ns4:_="">
    <xsd:import namespace="e73c3f83-3367-4e11-b46e-245a4106ebfe"/>
    <xsd:import namespace="695a0d3e-b01a-406a-b742-9c75561f40c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4:MediaServiceOCR" minOccurs="0"/>
                <xsd:element ref="ns4:_activity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3c3f83-3367-4e11-b46e-245a4106ebf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5a0d3e-b01a-406a-b742-9c75561f40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61C7ED-55DF-4642-B12A-528A24D00958}">
  <ds:schemaRefs>
    <ds:schemaRef ds:uri="http://purl.org/dc/elements/1.1/"/>
    <ds:schemaRef ds:uri="http://schemas.microsoft.com/office/infopath/2007/PartnerControls"/>
    <ds:schemaRef ds:uri="http://purl.org/dc/terms/"/>
    <ds:schemaRef ds:uri="http://www.w3.org/XML/1998/namespace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695a0d3e-b01a-406a-b742-9c75561f40cb"/>
    <ds:schemaRef ds:uri="e73c3f83-3367-4e11-b46e-245a4106ebfe"/>
  </ds:schemaRefs>
</ds:datastoreItem>
</file>

<file path=customXml/itemProps2.xml><?xml version="1.0" encoding="utf-8"?>
<ds:datastoreItem xmlns:ds="http://schemas.openxmlformats.org/officeDocument/2006/customXml" ds:itemID="{6CD8B1DD-3C9E-47EA-913B-828E3E2A5B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380E02-149E-48EA-9F23-0982298F697B}">
  <ds:schemaRefs>
    <ds:schemaRef ds:uri="695a0d3e-b01a-406a-b742-9c75561f40cb"/>
    <ds:schemaRef ds:uri="e73c3f83-3367-4e11-b46e-245a4106eb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7f4b8a2-ad4f-41b5-9a91-284d2cc38f56}" enabled="1" method="Standard" siteId="{70de1992-07c6-480f-a318-a1afcba03983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8</TotalTime>
  <Words>1667</Words>
  <Application>Microsoft Office PowerPoint</Application>
  <PresentationFormat>Widescreen</PresentationFormat>
  <Paragraphs>174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ptos</vt:lpstr>
      <vt:lpstr>Arial</vt:lpstr>
      <vt:lpstr>Calibri</vt:lpstr>
      <vt:lpstr>Times New Roman</vt:lpstr>
      <vt:lpstr>Blank</vt:lpstr>
      <vt:lpstr>think-cell Slide</vt:lpstr>
      <vt:lpstr>PowerPoint Presentation</vt:lpstr>
      <vt:lpstr>Introduction and Objective</vt:lpstr>
      <vt:lpstr>Dataset Description</vt:lpstr>
      <vt:lpstr>Models</vt:lpstr>
      <vt:lpstr>Regression Analysis – Results</vt:lpstr>
      <vt:lpstr>Regression Analysis – Decision Tree Regressor</vt:lpstr>
      <vt:lpstr>Regression Analysis – Decision Tree Regressor (cont.)</vt:lpstr>
      <vt:lpstr>Network Analysis </vt:lpstr>
      <vt:lpstr>PowerPoint Presentation</vt:lpstr>
      <vt:lpstr>PowerPoint Presentation</vt:lpstr>
      <vt:lpstr>PowerPoint Presentation</vt:lpstr>
      <vt:lpstr>PowerPoint Presentation</vt:lpstr>
      <vt:lpstr>Network Analysis – Centrality Measures</vt:lpstr>
      <vt:lpstr>Degree Centrality vs Betweenness Centrality</vt:lpstr>
      <vt:lpstr>Degree Centrality vs Closeness Centrality</vt:lpstr>
      <vt:lpstr>Degree Centrality vs Eigenvector Centrality</vt:lpstr>
      <vt:lpstr>Conclusions</vt:lpstr>
      <vt:lpstr>Future Research</vt:lpstr>
      <vt:lpstr>References</vt:lpstr>
      <vt:lpstr>Questions/Comments</vt:lpstr>
      <vt:lpstr>Appendix</vt:lpstr>
      <vt:lpstr>Regression Analysis – Feature Selection</vt:lpstr>
      <vt:lpstr>Regression Analysis – Linear Regression</vt:lpstr>
      <vt:lpstr>Additional Conclusions</vt:lpstr>
    </vt:vector>
  </TitlesOfParts>
  <Company>Southwest Airlin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d Grandle</dc:creator>
  <cp:lastModifiedBy>Manda, Padma Sree</cp:lastModifiedBy>
  <cp:revision>4</cp:revision>
  <cp:lastPrinted>2014-09-23T21:02:57Z</cp:lastPrinted>
  <dcterms:created xsi:type="dcterms:W3CDTF">2014-12-17T17:45:34Z</dcterms:created>
  <dcterms:modified xsi:type="dcterms:W3CDTF">2025-01-17T15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F62E07C09A2E479A158F9A5EA79405</vt:lpwstr>
  </property>
</Properties>
</file>